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5"/>
  </p:notesMasterIdLst>
  <p:handoutMasterIdLst>
    <p:handoutMasterId r:id="rId16"/>
  </p:handoutMasterIdLst>
  <p:sldIdLst>
    <p:sldId id="338" r:id="rId5"/>
    <p:sldId id="2582" r:id="rId6"/>
    <p:sldId id="2587" r:id="rId7"/>
    <p:sldId id="2583" r:id="rId8"/>
    <p:sldId id="2585" r:id="rId9"/>
    <p:sldId id="2586" r:id="rId10"/>
    <p:sldId id="2581" r:id="rId11"/>
    <p:sldId id="2580" r:id="rId12"/>
    <p:sldId id="2576" r:id="rId13"/>
    <p:sldId id="431" r:id="rId14"/>
  </p:sldIdLst>
  <p:sldSz cx="10080625" cy="5651500"/>
  <p:notesSz cx="7010400" cy="9296400"/>
  <p:custDataLst>
    <p:tags r:id="rId17"/>
  </p:custDataLst>
  <p:defaultTextStyle>
    <a:defPPr>
      <a:defRPr lang="de-DE"/>
    </a:defPPr>
    <a:lvl1pPr marL="0" algn="l" defTabSz="755021" rtl="0" eaLnBrk="1" latinLnBrk="0" hangingPunct="1">
      <a:defRPr sz="1486" kern="1200">
        <a:solidFill>
          <a:schemeClr val="tx1"/>
        </a:solidFill>
        <a:latin typeface="+mn-lt"/>
        <a:ea typeface="+mn-ea"/>
        <a:cs typeface="+mn-cs"/>
      </a:defRPr>
    </a:lvl1pPr>
    <a:lvl2pPr marL="377510" algn="l" defTabSz="755021" rtl="0" eaLnBrk="1" latinLnBrk="0" hangingPunct="1">
      <a:defRPr sz="1486" kern="1200">
        <a:solidFill>
          <a:schemeClr val="tx1"/>
        </a:solidFill>
        <a:latin typeface="+mn-lt"/>
        <a:ea typeface="+mn-ea"/>
        <a:cs typeface="+mn-cs"/>
      </a:defRPr>
    </a:lvl2pPr>
    <a:lvl3pPr marL="755021" algn="l" defTabSz="755021" rtl="0" eaLnBrk="1" latinLnBrk="0" hangingPunct="1">
      <a:defRPr sz="1486" kern="1200">
        <a:solidFill>
          <a:schemeClr val="tx1"/>
        </a:solidFill>
        <a:latin typeface="+mn-lt"/>
        <a:ea typeface="+mn-ea"/>
        <a:cs typeface="+mn-cs"/>
      </a:defRPr>
    </a:lvl3pPr>
    <a:lvl4pPr marL="1132529" algn="l" defTabSz="755021" rtl="0" eaLnBrk="1" latinLnBrk="0" hangingPunct="1">
      <a:defRPr sz="1486" kern="1200">
        <a:solidFill>
          <a:schemeClr val="tx1"/>
        </a:solidFill>
        <a:latin typeface="+mn-lt"/>
        <a:ea typeface="+mn-ea"/>
        <a:cs typeface="+mn-cs"/>
      </a:defRPr>
    </a:lvl4pPr>
    <a:lvl5pPr marL="1510040" algn="l" defTabSz="755021" rtl="0" eaLnBrk="1" latinLnBrk="0" hangingPunct="1">
      <a:defRPr sz="1486" kern="1200">
        <a:solidFill>
          <a:schemeClr val="tx1"/>
        </a:solidFill>
        <a:latin typeface="+mn-lt"/>
        <a:ea typeface="+mn-ea"/>
        <a:cs typeface="+mn-cs"/>
      </a:defRPr>
    </a:lvl5pPr>
    <a:lvl6pPr marL="1887550" algn="l" defTabSz="755021" rtl="0" eaLnBrk="1" latinLnBrk="0" hangingPunct="1">
      <a:defRPr sz="1486" kern="1200">
        <a:solidFill>
          <a:schemeClr val="tx1"/>
        </a:solidFill>
        <a:latin typeface="+mn-lt"/>
        <a:ea typeface="+mn-ea"/>
        <a:cs typeface="+mn-cs"/>
      </a:defRPr>
    </a:lvl6pPr>
    <a:lvl7pPr marL="2265060" algn="l" defTabSz="755021" rtl="0" eaLnBrk="1" latinLnBrk="0" hangingPunct="1">
      <a:defRPr sz="1486" kern="1200">
        <a:solidFill>
          <a:schemeClr val="tx1"/>
        </a:solidFill>
        <a:latin typeface="+mn-lt"/>
        <a:ea typeface="+mn-ea"/>
        <a:cs typeface="+mn-cs"/>
      </a:defRPr>
    </a:lvl7pPr>
    <a:lvl8pPr marL="2642569" algn="l" defTabSz="755021" rtl="0" eaLnBrk="1" latinLnBrk="0" hangingPunct="1">
      <a:defRPr sz="1486" kern="1200">
        <a:solidFill>
          <a:schemeClr val="tx1"/>
        </a:solidFill>
        <a:latin typeface="+mn-lt"/>
        <a:ea typeface="+mn-ea"/>
        <a:cs typeface="+mn-cs"/>
      </a:defRPr>
    </a:lvl8pPr>
    <a:lvl9pPr marL="3020079" algn="l" defTabSz="755021" rtl="0" eaLnBrk="1" latinLnBrk="0" hangingPunct="1">
      <a:defRPr sz="1486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175" userDrawn="1">
          <p15:clr>
            <a:srgbClr val="A4A3A4"/>
          </p15:clr>
        </p15:guide>
        <p15:guide id="2" orient="horz" pos="17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vorsrud, Tor (Oslo) NOR" initials="HT(N" lastIdx="1" clrIdx="0">
    <p:extLst>
      <p:ext uri="{19B8F6BF-5375-455C-9EA6-DF929625EA0E}">
        <p15:presenceInfo xmlns:p15="http://schemas.microsoft.com/office/powerpoint/2012/main" userId="S-1-5-21-1078081533-261478967-839522115-75802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238"/>
    <a:srgbClr val="F7A200"/>
    <a:srgbClr val="D6D7D9"/>
    <a:srgbClr val="E6E7E8"/>
    <a:srgbClr val="EEEEEE"/>
    <a:srgbClr val="767778"/>
    <a:srgbClr val="EC12CD"/>
    <a:srgbClr val="FFFFFF"/>
    <a:srgbClr val="4D4D4D"/>
    <a:srgbClr val="5859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FDDCEBA-BCE4-46AD-BB72-0CF509DC73F4}" v="13" dt="2021-11-03T08:13:30.30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577" autoAdjust="0"/>
    <p:restoredTop sz="92055" autoAdjust="0"/>
  </p:normalViewPr>
  <p:slideViewPr>
    <p:cSldViewPr snapToGrid="0">
      <p:cViewPr varScale="1">
        <p:scale>
          <a:sx n="124" d="100"/>
          <a:sy n="124" d="100"/>
        </p:scale>
        <p:origin x="480" y="96"/>
      </p:cViewPr>
      <p:guideLst>
        <p:guide pos="3175"/>
        <p:guide orient="horz" pos="17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93" d="100"/>
          <a:sy n="93" d="100"/>
        </p:scale>
        <p:origin x="3726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23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Prosent</c:v>
                </c:pt>
              </c:strCache>
            </c:strRef>
          </c:tx>
          <c:spPr>
            <a:solidFill>
              <a:srgbClr val="47838F">
                <a:alpha val="85000"/>
              </a:srgbClr>
            </a:solidFill>
            <a:ln w="19050">
              <a:solidFill>
                <a:schemeClr val="lt1"/>
              </a:solidFill>
            </a:ln>
            <a:effectLst/>
          </c:spPr>
          <c:dPt>
            <c:idx val="0"/>
            <c:bubble3D val="0"/>
            <c:spPr>
              <a:solidFill>
                <a:srgbClr val="00B0F0">
                  <a:alpha val="85000"/>
                </a:srgb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C07-488B-8254-24CFFCAF9DA3}"/>
              </c:ext>
            </c:extLst>
          </c:dPt>
          <c:dPt>
            <c:idx val="2"/>
            <c:bubble3D val="0"/>
            <c:spPr>
              <a:solidFill>
                <a:schemeClr val="accent4">
                  <a:lumMod val="40000"/>
                  <a:lumOff val="60000"/>
                  <a:alpha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C07-488B-8254-24CFFCAF9DA3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b-NO"/>
                </a:p>
              </c:txPr>
              <c:dLblPos val="ctr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C07-488B-8254-24CFFCAF9DA3}"/>
                </c:ext>
              </c:extLst>
            </c:dLbl>
            <c:dLbl>
              <c:idx val="2"/>
              <c:layout>
                <c:manualLayout>
                  <c:x val="3.1699554875303175E-2"/>
                  <c:y val="0.1174449153475611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C07-488B-8254-24CFFCAF9DA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ctr"/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Ark1'!$A$2:$A$4</c:f>
              <c:strCache>
                <c:ptCount val="3"/>
                <c:pt idx="0">
                  <c:v>Kalsinering</c:v>
                </c:pt>
                <c:pt idx="1">
                  <c:v>Brensel</c:v>
                </c:pt>
                <c:pt idx="2">
                  <c:v>Annet</c:v>
                </c:pt>
              </c:strCache>
            </c:strRef>
          </c:cat>
          <c:val>
            <c:numRef>
              <c:f>'Ark1'!$B$2:$B$4</c:f>
              <c:numCache>
                <c:formatCode>0%</c:formatCode>
                <c:ptCount val="3"/>
                <c:pt idx="0">
                  <c:v>0.64</c:v>
                </c:pt>
                <c:pt idx="1">
                  <c:v>0.34</c:v>
                </c:pt>
                <c:pt idx="2">
                  <c:v>0.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C07-488B-8254-24CFFCAF9D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nb-NO" dirty="0"/>
              <a:t>CO2 fra betongindustrie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title>
    <c:autoTitleDeleted val="0"/>
    <c:plotArea>
      <c:layout>
        <c:manualLayout>
          <c:layoutTarget val="inner"/>
          <c:xMode val="edge"/>
          <c:yMode val="edge"/>
          <c:x val="0.18436041727836003"/>
          <c:y val="0.12121206832718566"/>
          <c:w val="0.78223884479544925"/>
          <c:h val="0.8102301595862161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Ark1'!$A$2</c:f>
              <c:strCache>
                <c:ptCount val="1"/>
                <c:pt idx="0">
                  <c:v>Norcem Brevik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6950738035857894"/>
                      <c:h val="7.360742159987733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7F6B-438B-A6EB-52C1B430F41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B$1</c:f>
              <c:strCache>
                <c:ptCount val="1"/>
                <c:pt idx="0">
                  <c:v>MT CO2</c:v>
                </c:pt>
              </c:strCache>
            </c:strRef>
          </c:cat>
          <c:val>
            <c:numRef>
              <c:f>'Ark1'!$B$2</c:f>
              <c:numCache>
                <c:formatCode>General</c:formatCode>
                <c:ptCount val="1"/>
                <c:pt idx="0">
                  <c:v>0.901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F6B-438B-A6EB-52C1B430F41C}"/>
            </c:ext>
          </c:extLst>
        </c:ser>
        <c:ser>
          <c:idx val="1"/>
          <c:order val="1"/>
          <c:tx>
            <c:strRef>
              <c:f>'Ark1'!$A$3</c:f>
              <c:strCache>
                <c:ptCount val="1"/>
                <c:pt idx="0">
                  <c:v>Norcem Kjøpsvik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53430569852578513"/>
                      <c:h val="8.9262888634864909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7F6B-438B-A6EB-52C1B430F41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B$1</c:f>
              <c:strCache>
                <c:ptCount val="1"/>
                <c:pt idx="0">
                  <c:v>MT CO2</c:v>
                </c:pt>
              </c:strCache>
            </c:strRef>
          </c:cat>
          <c:val>
            <c:numRef>
              <c:f>'Ark1'!$B$3</c:f>
              <c:numCache>
                <c:formatCode>General</c:formatCode>
                <c:ptCount val="1"/>
                <c:pt idx="0">
                  <c:v>0.3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F6B-438B-A6EB-52C1B430F41C}"/>
            </c:ext>
          </c:extLst>
        </c:ser>
        <c:ser>
          <c:idx val="2"/>
          <c:order val="2"/>
          <c:tx>
            <c:strRef>
              <c:f>'Ark1'!$A$4</c:f>
              <c:strCache>
                <c:ptCount val="1"/>
                <c:pt idx="0">
                  <c:v>Importsement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3.316199042799E-2"/>
                  <c:y val="-6.3324563318906523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516052961717756"/>
                      <c:h val="0.110137010891312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7F6B-438B-A6EB-52C1B430F41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B$1</c:f>
              <c:strCache>
                <c:ptCount val="1"/>
                <c:pt idx="0">
                  <c:v>MT CO2</c:v>
                </c:pt>
              </c:strCache>
            </c:strRef>
          </c:cat>
          <c:val>
            <c:numRef>
              <c:f>'Ark1'!$B$4</c:f>
              <c:numCache>
                <c:formatCode>General</c:formatCode>
                <c:ptCount val="1"/>
                <c:pt idx="0">
                  <c:v>0.301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F6B-438B-A6EB-52C1B430F41C}"/>
            </c:ext>
          </c:extLst>
        </c:ser>
        <c:ser>
          <c:idx val="3"/>
          <c:order val="3"/>
          <c:tx>
            <c:strRef>
              <c:f>'Ark1'!$A$5</c:f>
              <c:strCache>
                <c:ptCount val="1"/>
                <c:pt idx="0">
                  <c:v>Betongproduksjon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5.1585264914452478E-2"/>
                  <c:y val="1.7769160936211536E-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1133241032913648"/>
                      <c:h val="6.317036047165354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7F6B-438B-A6EB-52C1B430F41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B$1</c:f>
              <c:strCache>
                <c:ptCount val="1"/>
                <c:pt idx="0">
                  <c:v>MT CO2</c:v>
                </c:pt>
              </c:strCache>
            </c:strRef>
          </c:cat>
          <c:val>
            <c:numRef>
              <c:f>'Ark1'!$B$5</c:f>
              <c:numCache>
                <c:formatCode>General</c:formatCode>
                <c:ptCount val="1"/>
                <c:pt idx="0">
                  <c:v>0.266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7F6B-438B-A6EB-52C1B430F4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3"/>
        <c:overlap val="100"/>
        <c:axId val="1753596400"/>
        <c:axId val="1734405312"/>
      </c:barChart>
      <c:catAx>
        <c:axId val="175359640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734405312"/>
        <c:crosses val="autoZero"/>
        <c:auto val="1"/>
        <c:lblAlgn val="ctr"/>
        <c:lblOffset val="100"/>
        <c:noMultiLvlLbl val="0"/>
      </c:catAx>
      <c:valAx>
        <c:axId val="17344053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nb-NO" dirty="0"/>
                  <a:t>MT CO2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nb-NO"/>
            </a:p>
          </c:txPr>
        </c:title>
        <c:numFmt formatCode="#,##0.0" sourceLinked="0"/>
        <c:majorTickMark val="none"/>
        <c:minorTickMark val="none"/>
        <c:tickLblPos val="low"/>
        <c:spPr>
          <a:noFill/>
          <a:ln>
            <a:solidFill>
              <a:schemeClr val="bg2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17535964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image" Target="../media/image13.jpe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image" Target="../media/image13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46256D1-95F9-3049-9948-EA0DB94B6EC4}" type="doc">
      <dgm:prSet loTypeId="urn:microsoft.com/office/officeart/2008/layout/VerticalCurvedList" loCatId="" qsTypeId="urn:microsoft.com/office/officeart/2005/8/quickstyle/simple1" qsCatId="simple" csTypeId="urn:microsoft.com/office/officeart/2005/8/colors/accent1_2" csCatId="accent1" phldr="1"/>
      <dgm:spPr/>
    </dgm:pt>
    <dgm:pt modelId="{1410F328-C0DC-AB47-A150-FC7CF5953205}">
      <dgm:prSet phldrT="[Tekst]"/>
      <dgm:spPr>
        <a:solidFill>
          <a:schemeClr val="accent5"/>
        </a:solidFill>
      </dgm:spPr>
      <dgm:t>
        <a:bodyPr/>
        <a:lstStyle/>
        <a:p>
          <a:r>
            <a:rPr lang="nb-NO" dirty="0"/>
            <a:t>Karbonfangst</a:t>
          </a:r>
        </a:p>
      </dgm:t>
    </dgm:pt>
    <dgm:pt modelId="{6873F6FC-8B78-E34C-A1D3-2C3B8AD5FFAB}" type="parTrans" cxnId="{4DDA46EA-4AF2-C241-ABC6-901A41264E48}">
      <dgm:prSet/>
      <dgm:spPr/>
      <dgm:t>
        <a:bodyPr/>
        <a:lstStyle/>
        <a:p>
          <a:endParaRPr lang="nb-NO"/>
        </a:p>
      </dgm:t>
    </dgm:pt>
    <dgm:pt modelId="{5942BCC0-8CD4-4F4C-802A-96AFA59FD684}" type="sibTrans" cxnId="{4DDA46EA-4AF2-C241-ABC6-901A41264E48}">
      <dgm:prSet/>
      <dgm:spPr/>
      <dgm:t>
        <a:bodyPr/>
        <a:lstStyle/>
        <a:p>
          <a:endParaRPr lang="nb-NO"/>
        </a:p>
      </dgm:t>
    </dgm:pt>
    <dgm:pt modelId="{9D7E8C30-A28D-0647-951E-45E896EA5A57}">
      <dgm:prSet phldrT="[Tekst]"/>
      <dgm:spPr>
        <a:solidFill>
          <a:schemeClr val="accent4"/>
        </a:solidFill>
      </dgm:spPr>
      <dgm:t>
        <a:bodyPr/>
        <a:lstStyle/>
        <a:p>
          <a:r>
            <a:rPr lang="nb-NO" dirty="0"/>
            <a:t>Alternative råmaterialer</a:t>
          </a:r>
        </a:p>
      </dgm:t>
    </dgm:pt>
    <dgm:pt modelId="{B7A41D41-0E69-C348-9FDF-310B8AA8ABC1}" type="parTrans" cxnId="{9FBF2D01-2755-FC41-8E7D-18D5A46E6B96}">
      <dgm:prSet/>
      <dgm:spPr/>
      <dgm:t>
        <a:bodyPr/>
        <a:lstStyle/>
        <a:p>
          <a:endParaRPr lang="nb-NO"/>
        </a:p>
      </dgm:t>
    </dgm:pt>
    <dgm:pt modelId="{73AEC6C9-2493-9643-BC82-6E6B1F111E8F}" type="sibTrans" cxnId="{9FBF2D01-2755-FC41-8E7D-18D5A46E6B96}">
      <dgm:prSet/>
      <dgm:spPr/>
      <dgm:t>
        <a:bodyPr/>
        <a:lstStyle/>
        <a:p>
          <a:endParaRPr lang="nb-NO"/>
        </a:p>
      </dgm:t>
    </dgm:pt>
    <dgm:pt modelId="{105D5B6F-4A93-844C-9847-9C1DDB594F4E}">
      <dgm:prSet phldrT="[Tekst]"/>
      <dgm:spPr>
        <a:solidFill>
          <a:srgbClr val="559BA9"/>
        </a:solidFill>
      </dgm:spPr>
      <dgm:t>
        <a:bodyPr/>
        <a:lstStyle/>
        <a:p>
          <a:r>
            <a:rPr lang="nb-NO" dirty="0"/>
            <a:t>Alternative brensler</a:t>
          </a:r>
        </a:p>
      </dgm:t>
    </dgm:pt>
    <dgm:pt modelId="{DE41F0DE-4D3B-8F41-A0E6-5C9F84C94B3A}" type="parTrans" cxnId="{C37A488E-E3DD-E544-B6DE-D8C1D4607D00}">
      <dgm:prSet/>
      <dgm:spPr/>
      <dgm:t>
        <a:bodyPr/>
        <a:lstStyle/>
        <a:p>
          <a:endParaRPr lang="nb-NO"/>
        </a:p>
      </dgm:t>
    </dgm:pt>
    <dgm:pt modelId="{4B5347A8-4BBE-E248-97CF-C36CC37FE621}" type="sibTrans" cxnId="{C37A488E-E3DD-E544-B6DE-D8C1D4607D00}">
      <dgm:prSet/>
      <dgm:spPr/>
      <dgm:t>
        <a:bodyPr/>
        <a:lstStyle/>
        <a:p>
          <a:endParaRPr lang="nb-NO"/>
        </a:p>
      </dgm:t>
    </dgm:pt>
    <dgm:pt modelId="{3E537D29-20BA-1848-AFA9-71D7AF9B9C6D}" type="pres">
      <dgm:prSet presAssocID="{046256D1-95F9-3049-9948-EA0DB94B6EC4}" presName="Name0" presStyleCnt="0">
        <dgm:presLayoutVars>
          <dgm:chMax val="7"/>
          <dgm:chPref val="7"/>
          <dgm:dir/>
        </dgm:presLayoutVars>
      </dgm:prSet>
      <dgm:spPr/>
    </dgm:pt>
    <dgm:pt modelId="{1A4EEC06-50CA-6047-881C-AFD5F80B70D7}" type="pres">
      <dgm:prSet presAssocID="{046256D1-95F9-3049-9948-EA0DB94B6EC4}" presName="Name1" presStyleCnt="0"/>
      <dgm:spPr/>
    </dgm:pt>
    <dgm:pt modelId="{A9224E75-C31F-6343-8481-ADF2BFD83FB9}" type="pres">
      <dgm:prSet presAssocID="{046256D1-95F9-3049-9948-EA0DB94B6EC4}" presName="cycle" presStyleCnt="0"/>
      <dgm:spPr/>
    </dgm:pt>
    <dgm:pt modelId="{8EF71B38-2AF6-3640-A3B4-BE2A0BE7E4B6}" type="pres">
      <dgm:prSet presAssocID="{046256D1-95F9-3049-9948-EA0DB94B6EC4}" presName="srcNode" presStyleLbl="node1" presStyleIdx="0" presStyleCnt="3"/>
      <dgm:spPr/>
    </dgm:pt>
    <dgm:pt modelId="{E169FC7E-837F-4F45-8022-7E6E7114E890}" type="pres">
      <dgm:prSet presAssocID="{046256D1-95F9-3049-9948-EA0DB94B6EC4}" presName="conn" presStyleLbl="parChTrans1D2" presStyleIdx="0" presStyleCnt="1"/>
      <dgm:spPr/>
    </dgm:pt>
    <dgm:pt modelId="{34C7EA56-C4CB-D240-A3D0-23AE41A624E6}" type="pres">
      <dgm:prSet presAssocID="{046256D1-95F9-3049-9948-EA0DB94B6EC4}" presName="extraNode" presStyleLbl="node1" presStyleIdx="0" presStyleCnt="3"/>
      <dgm:spPr/>
    </dgm:pt>
    <dgm:pt modelId="{85C19AC3-7223-C546-97ED-BBDB8ABA7392}" type="pres">
      <dgm:prSet presAssocID="{046256D1-95F9-3049-9948-EA0DB94B6EC4}" presName="dstNode" presStyleLbl="node1" presStyleIdx="0" presStyleCnt="3"/>
      <dgm:spPr/>
    </dgm:pt>
    <dgm:pt modelId="{34DDD98A-5199-0847-9BE3-2D0510C29A40}" type="pres">
      <dgm:prSet presAssocID="{105D5B6F-4A93-844C-9847-9C1DDB594F4E}" presName="text_1" presStyleLbl="node1" presStyleIdx="0" presStyleCnt="3" custScaleX="86887">
        <dgm:presLayoutVars>
          <dgm:bulletEnabled val="1"/>
        </dgm:presLayoutVars>
      </dgm:prSet>
      <dgm:spPr/>
    </dgm:pt>
    <dgm:pt modelId="{A822F422-EAA2-DE48-964D-B1EF2FAD9D5D}" type="pres">
      <dgm:prSet presAssocID="{105D5B6F-4A93-844C-9847-9C1DDB594F4E}" presName="accent_1" presStyleCnt="0"/>
      <dgm:spPr/>
    </dgm:pt>
    <dgm:pt modelId="{BDF76629-C3BA-2C43-AC00-B40AAB7C4FC4}" type="pres">
      <dgm:prSet presAssocID="{105D5B6F-4A93-844C-9847-9C1DDB594F4E}" presName="accentRepeatNode" presStyleLbl="solidFgAcc1" presStyleIdx="0" presStyleCnt="3" custScaleX="142010" custScaleY="142010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</dgm:pt>
    <dgm:pt modelId="{5B4F8CC4-D2E0-6442-BAA2-08B85C4836D8}" type="pres">
      <dgm:prSet presAssocID="{9D7E8C30-A28D-0647-951E-45E896EA5A57}" presName="text_2" presStyleLbl="node1" presStyleIdx="1" presStyleCnt="3" custScaleX="88256">
        <dgm:presLayoutVars>
          <dgm:bulletEnabled val="1"/>
        </dgm:presLayoutVars>
      </dgm:prSet>
      <dgm:spPr/>
    </dgm:pt>
    <dgm:pt modelId="{69B02FAA-5745-1C4B-9E17-3DD7977F0274}" type="pres">
      <dgm:prSet presAssocID="{9D7E8C30-A28D-0647-951E-45E896EA5A57}" presName="accent_2" presStyleCnt="0"/>
      <dgm:spPr/>
    </dgm:pt>
    <dgm:pt modelId="{062A0D5E-8520-9A43-916F-9184956CDBAB}" type="pres">
      <dgm:prSet presAssocID="{9D7E8C30-A28D-0647-951E-45E896EA5A57}" presName="accentRepeatNode" presStyleLbl="solidFgAcc1" presStyleIdx="1" presStyleCnt="3" custScaleX="142010" custScaleY="142010"/>
      <dgm:spPr>
        <a:blipFill rotWithShape="0">
          <a:blip xmlns:r="http://schemas.openxmlformats.org/officeDocument/2006/relationships" r:embed="rId2"/>
          <a:stretch>
            <a:fillRect/>
          </a:stretch>
        </a:blipFill>
      </dgm:spPr>
    </dgm:pt>
    <dgm:pt modelId="{5F10FC39-DE39-A14A-AB80-B3F0408FA58F}" type="pres">
      <dgm:prSet presAssocID="{1410F328-C0DC-AB47-A150-FC7CF5953205}" presName="text_3" presStyleLbl="node1" presStyleIdx="2" presStyleCnt="3" custScaleX="87601">
        <dgm:presLayoutVars>
          <dgm:bulletEnabled val="1"/>
        </dgm:presLayoutVars>
      </dgm:prSet>
      <dgm:spPr/>
    </dgm:pt>
    <dgm:pt modelId="{0BAFDC8E-2D72-8743-82F4-B5DA39C72D8C}" type="pres">
      <dgm:prSet presAssocID="{1410F328-C0DC-AB47-A150-FC7CF5953205}" presName="accent_3" presStyleCnt="0"/>
      <dgm:spPr/>
    </dgm:pt>
    <dgm:pt modelId="{AE44AD45-9626-7B4D-91A6-6FD2F9823712}" type="pres">
      <dgm:prSet presAssocID="{1410F328-C0DC-AB47-A150-FC7CF5953205}" presName="accentRepeatNode" presStyleLbl="solidFgAcc1" presStyleIdx="2" presStyleCnt="3" custScaleX="142010" custScaleY="142010"/>
      <dgm:spPr>
        <a:blipFill rotWithShape="0">
          <a:blip xmlns:r="http://schemas.openxmlformats.org/officeDocument/2006/relationships" r:embed="rId3"/>
          <a:stretch>
            <a:fillRect/>
          </a:stretch>
        </a:blipFill>
      </dgm:spPr>
    </dgm:pt>
  </dgm:ptLst>
  <dgm:cxnLst>
    <dgm:cxn modelId="{9FBF2D01-2755-FC41-8E7D-18D5A46E6B96}" srcId="{046256D1-95F9-3049-9948-EA0DB94B6EC4}" destId="{9D7E8C30-A28D-0647-951E-45E896EA5A57}" srcOrd="1" destOrd="0" parTransId="{B7A41D41-0E69-C348-9FDF-310B8AA8ABC1}" sibTransId="{73AEC6C9-2493-9643-BC82-6E6B1F111E8F}"/>
    <dgm:cxn modelId="{9EC7E73A-9284-814E-BD9C-2BABFDB5BCDC}" type="presOf" srcId="{1410F328-C0DC-AB47-A150-FC7CF5953205}" destId="{5F10FC39-DE39-A14A-AB80-B3F0408FA58F}" srcOrd="0" destOrd="0" presId="urn:microsoft.com/office/officeart/2008/layout/VerticalCurvedList"/>
    <dgm:cxn modelId="{044AFB5F-D249-3B43-9E98-2727D629397E}" type="presOf" srcId="{046256D1-95F9-3049-9948-EA0DB94B6EC4}" destId="{3E537D29-20BA-1848-AFA9-71D7AF9B9C6D}" srcOrd="0" destOrd="0" presId="urn:microsoft.com/office/officeart/2008/layout/VerticalCurvedList"/>
    <dgm:cxn modelId="{38A4F784-A848-0A40-983F-7989664F0280}" type="presOf" srcId="{4B5347A8-4BBE-E248-97CF-C36CC37FE621}" destId="{E169FC7E-837F-4F45-8022-7E6E7114E890}" srcOrd="0" destOrd="0" presId="urn:microsoft.com/office/officeart/2008/layout/VerticalCurvedList"/>
    <dgm:cxn modelId="{C37A488E-E3DD-E544-B6DE-D8C1D4607D00}" srcId="{046256D1-95F9-3049-9948-EA0DB94B6EC4}" destId="{105D5B6F-4A93-844C-9847-9C1DDB594F4E}" srcOrd="0" destOrd="0" parTransId="{DE41F0DE-4D3B-8F41-A0E6-5C9F84C94B3A}" sibTransId="{4B5347A8-4BBE-E248-97CF-C36CC37FE621}"/>
    <dgm:cxn modelId="{0C1DD099-E73C-D849-980E-B7BBA95C070B}" type="presOf" srcId="{105D5B6F-4A93-844C-9847-9C1DDB594F4E}" destId="{34DDD98A-5199-0847-9BE3-2D0510C29A40}" srcOrd="0" destOrd="0" presId="urn:microsoft.com/office/officeart/2008/layout/VerticalCurvedList"/>
    <dgm:cxn modelId="{77296FD1-8313-6941-BD47-19852A68A4B8}" type="presOf" srcId="{9D7E8C30-A28D-0647-951E-45E896EA5A57}" destId="{5B4F8CC4-D2E0-6442-BAA2-08B85C4836D8}" srcOrd="0" destOrd="0" presId="urn:microsoft.com/office/officeart/2008/layout/VerticalCurvedList"/>
    <dgm:cxn modelId="{4DDA46EA-4AF2-C241-ABC6-901A41264E48}" srcId="{046256D1-95F9-3049-9948-EA0DB94B6EC4}" destId="{1410F328-C0DC-AB47-A150-FC7CF5953205}" srcOrd="2" destOrd="0" parTransId="{6873F6FC-8B78-E34C-A1D3-2C3B8AD5FFAB}" sibTransId="{5942BCC0-8CD4-4F4C-802A-96AFA59FD684}"/>
    <dgm:cxn modelId="{84B3F259-58CB-3143-A0EF-D4FD7D5C8185}" type="presParOf" srcId="{3E537D29-20BA-1848-AFA9-71D7AF9B9C6D}" destId="{1A4EEC06-50CA-6047-881C-AFD5F80B70D7}" srcOrd="0" destOrd="0" presId="urn:microsoft.com/office/officeart/2008/layout/VerticalCurvedList"/>
    <dgm:cxn modelId="{320237BD-3611-7E47-AF1E-8440E9A3E718}" type="presParOf" srcId="{1A4EEC06-50CA-6047-881C-AFD5F80B70D7}" destId="{A9224E75-C31F-6343-8481-ADF2BFD83FB9}" srcOrd="0" destOrd="0" presId="urn:microsoft.com/office/officeart/2008/layout/VerticalCurvedList"/>
    <dgm:cxn modelId="{3A097E52-4ECF-3840-AE1B-9CA119C9184E}" type="presParOf" srcId="{A9224E75-C31F-6343-8481-ADF2BFD83FB9}" destId="{8EF71B38-2AF6-3640-A3B4-BE2A0BE7E4B6}" srcOrd="0" destOrd="0" presId="urn:microsoft.com/office/officeart/2008/layout/VerticalCurvedList"/>
    <dgm:cxn modelId="{B264B3D1-168D-114B-9C7F-DDAFB4E430D1}" type="presParOf" srcId="{A9224E75-C31F-6343-8481-ADF2BFD83FB9}" destId="{E169FC7E-837F-4F45-8022-7E6E7114E890}" srcOrd="1" destOrd="0" presId="urn:microsoft.com/office/officeart/2008/layout/VerticalCurvedList"/>
    <dgm:cxn modelId="{91E3645E-098B-E041-86F5-6ECB967314F1}" type="presParOf" srcId="{A9224E75-C31F-6343-8481-ADF2BFD83FB9}" destId="{34C7EA56-C4CB-D240-A3D0-23AE41A624E6}" srcOrd="2" destOrd="0" presId="urn:microsoft.com/office/officeart/2008/layout/VerticalCurvedList"/>
    <dgm:cxn modelId="{BDF1AE1B-CAE5-B849-91D1-66AB4084B74D}" type="presParOf" srcId="{A9224E75-C31F-6343-8481-ADF2BFD83FB9}" destId="{85C19AC3-7223-C546-97ED-BBDB8ABA7392}" srcOrd="3" destOrd="0" presId="urn:microsoft.com/office/officeart/2008/layout/VerticalCurvedList"/>
    <dgm:cxn modelId="{F1784BE1-5C6C-EC4C-A935-756A1939D559}" type="presParOf" srcId="{1A4EEC06-50CA-6047-881C-AFD5F80B70D7}" destId="{34DDD98A-5199-0847-9BE3-2D0510C29A40}" srcOrd="1" destOrd="0" presId="urn:microsoft.com/office/officeart/2008/layout/VerticalCurvedList"/>
    <dgm:cxn modelId="{B01D3D7A-7655-884F-A599-377643F1B503}" type="presParOf" srcId="{1A4EEC06-50CA-6047-881C-AFD5F80B70D7}" destId="{A822F422-EAA2-DE48-964D-B1EF2FAD9D5D}" srcOrd="2" destOrd="0" presId="urn:microsoft.com/office/officeart/2008/layout/VerticalCurvedList"/>
    <dgm:cxn modelId="{879EF5E8-9BE7-824A-AD75-B7A1B4B85BBB}" type="presParOf" srcId="{A822F422-EAA2-DE48-964D-B1EF2FAD9D5D}" destId="{BDF76629-C3BA-2C43-AC00-B40AAB7C4FC4}" srcOrd="0" destOrd="0" presId="urn:microsoft.com/office/officeart/2008/layout/VerticalCurvedList"/>
    <dgm:cxn modelId="{05F697D7-188D-1543-A935-7797D131EF91}" type="presParOf" srcId="{1A4EEC06-50CA-6047-881C-AFD5F80B70D7}" destId="{5B4F8CC4-D2E0-6442-BAA2-08B85C4836D8}" srcOrd="3" destOrd="0" presId="urn:microsoft.com/office/officeart/2008/layout/VerticalCurvedList"/>
    <dgm:cxn modelId="{BB226C7C-9551-1F4F-9BA8-5EA845B9B32F}" type="presParOf" srcId="{1A4EEC06-50CA-6047-881C-AFD5F80B70D7}" destId="{69B02FAA-5745-1C4B-9E17-3DD7977F0274}" srcOrd="4" destOrd="0" presId="urn:microsoft.com/office/officeart/2008/layout/VerticalCurvedList"/>
    <dgm:cxn modelId="{2C95AD6F-F84E-AB4E-B458-8B32881D734C}" type="presParOf" srcId="{69B02FAA-5745-1C4B-9E17-3DD7977F0274}" destId="{062A0D5E-8520-9A43-916F-9184956CDBAB}" srcOrd="0" destOrd="0" presId="urn:microsoft.com/office/officeart/2008/layout/VerticalCurvedList"/>
    <dgm:cxn modelId="{D40DD5AB-728B-5B47-A0A8-828095006EB4}" type="presParOf" srcId="{1A4EEC06-50CA-6047-881C-AFD5F80B70D7}" destId="{5F10FC39-DE39-A14A-AB80-B3F0408FA58F}" srcOrd="5" destOrd="0" presId="urn:microsoft.com/office/officeart/2008/layout/VerticalCurvedList"/>
    <dgm:cxn modelId="{764ED9ED-C27B-7343-92D6-464A0D28F12E}" type="presParOf" srcId="{1A4EEC06-50CA-6047-881C-AFD5F80B70D7}" destId="{0BAFDC8E-2D72-8743-82F4-B5DA39C72D8C}" srcOrd="6" destOrd="0" presId="urn:microsoft.com/office/officeart/2008/layout/VerticalCurvedList"/>
    <dgm:cxn modelId="{7AFF9F40-832F-EE41-8B79-55FB41504C88}" type="presParOf" srcId="{0BAFDC8E-2D72-8743-82F4-B5DA39C72D8C}" destId="{AE44AD45-9626-7B4D-91A6-6FD2F9823712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CF4D136-07B5-CB48-8AC5-E29E1B725C96}" type="doc">
      <dgm:prSet loTypeId="urn:microsoft.com/office/officeart/2008/layout/VerticalCurvedList" loCatId="list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nb-NO"/>
        </a:p>
      </dgm:t>
    </dgm:pt>
    <dgm:pt modelId="{A08D9833-E921-A74F-8093-ACDEDB4FC0CD}">
      <dgm:prSet phldrT="[Tekst]"/>
      <dgm:spPr/>
      <dgm:t>
        <a:bodyPr/>
        <a:lstStyle/>
        <a:p>
          <a:r>
            <a:rPr lang="nb-NO" dirty="0"/>
            <a:t>Noen må være villig til stikke ut hodet!</a:t>
          </a:r>
        </a:p>
      </dgm:t>
    </dgm:pt>
    <dgm:pt modelId="{BEB2D3FE-652C-384F-AA3F-6FC8DD3C69CB}" type="parTrans" cxnId="{A7745469-6C76-0341-9F2F-AF15CBD01651}">
      <dgm:prSet/>
      <dgm:spPr/>
      <dgm:t>
        <a:bodyPr/>
        <a:lstStyle/>
        <a:p>
          <a:endParaRPr lang="nb-NO"/>
        </a:p>
      </dgm:t>
    </dgm:pt>
    <dgm:pt modelId="{218528F4-A84C-904C-9DD6-094BBF7FB143}" type="sibTrans" cxnId="{A7745469-6C76-0341-9F2F-AF15CBD01651}">
      <dgm:prSet/>
      <dgm:spPr/>
      <dgm:t>
        <a:bodyPr/>
        <a:lstStyle/>
        <a:p>
          <a:endParaRPr lang="nb-NO"/>
        </a:p>
      </dgm:t>
    </dgm:pt>
    <dgm:pt modelId="{42CA4AEB-579A-C346-8702-9757006E7D6F}">
      <dgm:prSet phldrT="[Tekst]"/>
      <dgm:spPr/>
      <dgm:t>
        <a:bodyPr/>
        <a:lstStyle/>
        <a:p>
          <a:r>
            <a:rPr lang="nb-NO" dirty="0"/>
            <a:t>Støtte hos ledelsen - forsøk lykkes ikke alltid!</a:t>
          </a:r>
        </a:p>
      </dgm:t>
    </dgm:pt>
    <dgm:pt modelId="{C385B0F3-8573-E844-AF28-34F7EF510D4A}" type="parTrans" cxnId="{94A6A108-950A-7742-BB28-86DC6471BC35}">
      <dgm:prSet/>
      <dgm:spPr/>
      <dgm:t>
        <a:bodyPr/>
        <a:lstStyle/>
        <a:p>
          <a:endParaRPr lang="nb-NO"/>
        </a:p>
      </dgm:t>
    </dgm:pt>
    <dgm:pt modelId="{97448BED-EC72-4148-B846-EF89C8E4EF35}" type="sibTrans" cxnId="{94A6A108-950A-7742-BB28-86DC6471BC35}">
      <dgm:prSet/>
      <dgm:spPr/>
      <dgm:t>
        <a:bodyPr/>
        <a:lstStyle/>
        <a:p>
          <a:endParaRPr lang="nb-NO"/>
        </a:p>
      </dgm:t>
    </dgm:pt>
    <dgm:pt modelId="{01062D05-1DB7-2240-9D60-B266303EADA9}">
      <dgm:prSet phldrT="[Tekst]"/>
      <dgm:spPr/>
      <dgm:t>
        <a:bodyPr/>
        <a:lstStyle/>
        <a:p>
          <a:r>
            <a:rPr lang="nb-NO" dirty="0"/>
            <a:t>Forsøk koster – men det er støtteordninger!</a:t>
          </a:r>
        </a:p>
      </dgm:t>
    </dgm:pt>
    <dgm:pt modelId="{8E1DD693-1273-1941-A3C9-BF3B4B48A31D}" type="parTrans" cxnId="{F00C1A56-B501-574A-AFBF-5115684E0029}">
      <dgm:prSet/>
      <dgm:spPr/>
      <dgm:t>
        <a:bodyPr/>
        <a:lstStyle/>
        <a:p>
          <a:endParaRPr lang="nb-NO"/>
        </a:p>
      </dgm:t>
    </dgm:pt>
    <dgm:pt modelId="{72CA4154-3E8A-7F4C-BB1E-8DCA39085687}" type="sibTrans" cxnId="{F00C1A56-B501-574A-AFBF-5115684E0029}">
      <dgm:prSet/>
      <dgm:spPr/>
      <dgm:t>
        <a:bodyPr/>
        <a:lstStyle/>
        <a:p>
          <a:endParaRPr lang="nb-NO"/>
        </a:p>
      </dgm:t>
    </dgm:pt>
    <dgm:pt modelId="{889ED898-9097-F84E-8CE1-1ECF4F359D72}">
      <dgm:prSet/>
      <dgm:spPr/>
      <dgm:t>
        <a:bodyPr/>
        <a:lstStyle/>
        <a:p>
          <a:r>
            <a:rPr lang="nb-NO" dirty="0"/>
            <a:t>Langsiktig business case </a:t>
          </a:r>
        </a:p>
      </dgm:t>
    </dgm:pt>
    <dgm:pt modelId="{70C0EF91-B882-EF4D-88F1-193E823A1924}" type="parTrans" cxnId="{EA4C7F46-9B7E-7844-8B44-4C335B3096F4}">
      <dgm:prSet/>
      <dgm:spPr/>
      <dgm:t>
        <a:bodyPr/>
        <a:lstStyle/>
        <a:p>
          <a:endParaRPr lang="nb-NO"/>
        </a:p>
      </dgm:t>
    </dgm:pt>
    <dgm:pt modelId="{FF298DF6-ACBB-9B44-A251-E9C97FE66B73}" type="sibTrans" cxnId="{EA4C7F46-9B7E-7844-8B44-4C335B3096F4}">
      <dgm:prSet/>
      <dgm:spPr/>
      <dgm:t>
        <a:bodyPr/>
        <a:lstStyle/>
        <a:p>
          <a:endParaRPr lang="nb-NO"/>
        </a:p>
      </dgm:t>
    </dgm:pt>
    <dgm:pt modelId="{D67EE61F-9EBB-AC43-B67A-457DB46DE420}">
      <dgm:prSet/>
      <dgm:spPr/>
      <dgm:t>
        <a:bodyPr/>
        <a:lstStyle/>
        <a:p>
          <a:r>
            <a:rPr lang="nb-NO" dirty="0"/>
            <a:t>Politiske og andre rammebetingelser</a:t>
          </a:r>
        </a:p>
      </dgm:t>
    </dgm:pt>
    <dgm:pt modelId="{30545E00-4D7A-5447-95B8-F0AD7B4F91D2}" type="parTrans" cxnId="{CE5F2185-5BF5-5C49-B99D-8F9B084B4BBE}">
      <dgm:prSet/>
      <dgm:spPr/>
      <dgm:t>
        <a:bodyPr/>
        <a:lstStyle/>
        <a:p>
          <a:endParaRPr lang="nb-NO"/>
        </a:p>
      </dgm:t>
    </dgm:pt>
    <dgm:pt modelId="{7CC39F28-15CC-374A-ADD2-13E1FBEF5A05}" type="sibTrans" cxnId="{CE5F2185-5BF5-5C49-B99D-8F9B084B4BBE}">
      <dgm:prSet/>
      <dgm:spPr/>
      <dgm:t>
        <a:bodyPr/>
        <a:lstStyle/>
        <a:p>
          <a:endParaRPr lang="nb-NO"/>
        </a:p>
      </dgm:t>
    </dgm:pt>
    <dgm:pt modelId="{DE80D903-2F6D-4CA0-99D7-B0EA0FB5CF75}" type="pres">
      <dgm:prSet presAssocID="{5CF4D136-07B5-CB48-8AC5-E29E1B725C96}" presName="Name0" presStyleCnt="0">
        <dgm:presLayoutVars>
          <dgm:chMax val="7"/>
          <dgm:chPref val="7"/>
          <dgm:dir/>
        </dgm:presLayoutVars>
      </dgm:prSet>
      <dgm:spPr/>
    </dgm:pt>
    <dgm:pt modelId="{A1D06B89-A834-4B8D-A591-8D2B3D68CD3A}" type="pres">
      <dgm:prSet presAssocID="{5CF4D136-07B5-CB48-8AC5-E29E1B725C96}" presName="Name1" presStyleCnt="0"/>
      <dgm:spPr/>
    </dgm:pt>
    <dgm:pt modelId="{C7DBF741-24BF-4175-8DE3-7CE04756B115}" type="pres">
      <dgm:prSet presAssocID="{5CF4D136-07B5-CB48-8AC5-E29E1B725C96}" presName="cycle" presStyleCnt="0"/>
      <dgm:spPr/>
    </dgm:pt>
    <dgm:pt modelId="{F9B7F00F-3FEA-460F-A0C4-70F69D4E4D9D}" type="pres">
      <dgm:prSet presAssocID="{5CF4D136-07B5-CB48-8AC5-E29E1B725C96}" presName="srcNode" presStyleLbl="node1" presStyleIdx="0" presStyleCnt="5"/>
      <dgm:spPr/>
    </dgm:pt>
    <dgm:pt modelId="{420570D2-9C06-4B21-A3AA-C6C8AE634554}" type="pres">
      <dgm:prSet presAssocID="{5CF4D136-07B5-CB48-8AC5-E29E1B725C96}" presName="conn" presStyleLbl="parChTrans1D2" presStyleIdx="0" presStyleCnt="1"/>
      <dgm:spPr/>
    </dgm:pt>
    <dgm:pt modelId="{433F124E-9405-4989-B40D-5EAA46A326F5}" type="pres">
      <dgm:prSet presAssocID="{5CF4D136-07B5-CB48-8AC5-E29E1B725C96}" presName="extraNode" presStyleLbl="node1" presStyleIdx="0" presStyleCnt="5"/>
      <dgm:spPr/>
    </dgm:pt>
    <dgm:pt modelId="{1103FC19-FCBA-4B53-8525-81FE601E4E6C}" type="pres">
      <dgm:prSet presAssocID="{5CF4D136-07B5-CB48-8AC5-E29E1B725C96}" presName="dstNode" presStyleLbl="node1" presStyleIdx="0" presStyleCnt="5"/>
      <dgm:spPr/>
    </dgm:pt>
    <dgm:pt modelId="{E7B5845C-70E5-42E6-B549-69B3BA727D6E}" type="pres">
      <dgm:prSet presAssocID="{A08D9833-E921-A74F-8093-ACDEDB4FC0CD}" presName="text_1" presStyleLbl="node1" presStyleIdx="0" presStyleCnt="5">
        <dgm:presLayoutVars>
          <dgm:bulletEnabled val="1"/>
        </dgm:presLayoutVars>
      </dgm:prSet>
      <dgm:spPr/>
    </dgm:pt>
    <dgm:pt modelId="{09BC7E6C-4F26-4B6F-A065-4B114C4DCD71}" type="pres">
      <dgm:prSet presAssocID="{A08D9833-E921-A74F-8093-ACDEDB4FC0CD}" presName="accent_1" presStyleCnt="0"/>
      <dgm:spPr/>
    </dgm:pt>
    <dgm:pt modelId="{BF8F3EC3-803C-4773-97E7-FD04DA8F906E}" type="pres">
      <dgm:prSet presAssocID="{A08D9833-E921-A74F-8093-ACDEDB4FC0CD}" presName="accentRepeatNode" presStyleLbl="solidFgAcc1" presStyleIdx="0" presStyleCnt="5"/>
      <dgm:spPr/>
    </dgm:pt>
    <dgm:pt modelId="{01F8AE9A-764E-4945-A319-EB7F5D9726E5}" type="pres">
      <dgm:prSet presAssocID="{42CA4AEB-579A-C346-8702-9757006E7D6F}" presName="text_2" presStyleLbl="node1" presStyleIdx="1" presStyleCnt="5">
        <dgm:presLayoutVars>
          <dgm:bulletEnabled val="1"/>
        </dgm:presLayoutVars>
      </dgm:prSet>
      <dgm:spPr/>
    </dgm:pt>
    <dgm:pt modelId="{66CF9B83-550C-48D4-A3BC-4CEC0A896C5C}" type="pres">
      <dgm:prSet presAssocID="{42CA4AEB-579A-C346-8702-9757006E7D6F}" presName="accent_2" presStyleCnt="0"/>
      <dgm:spPr/>
    </dgm:pt>
    <dgm:pt modelId="{FDB08D9D-D08B-4AD5-B5EF-F3003C4159F8}" type="pres">
      <dgm:prSet presAssocID="{42CA4AEB-579A-C346-8702-9757006E7D6F}" presName="accentRepeatNode" presStyleLbl="solidFgAcc1" presStyleIdx="1" presStyleCnt="5"/>
      <dgm:spPr/>
    </dgm:pt>
    <dgm:pt modelId="{C4EE96EA-0175-4B1D-8984-A554FE4EDCEB}" type="pres">
      <dgm:prSet presAssocID="{01062D05-1DB7-2240-9D60-B266303EADA9}" presName="text_3" presStyleLbl="node1" presStyleIdx="2" presStyleCnt="5">
        <dgm:presLayoutVars>
          <dgm:bulletEnabled val="1"/>
        </dgm:presLayoutVars>
      </dgm:prSet>
      <dgm:spPr/>
    </dgm:pt>
    <dgm:pt modelId="{490BD3A0-BDA1-4985-A2D1-8E08CED7D5C8}" type="pres">
      <dgm:prSet presAssocID="{01062D05-1DB7-2240-9D60-B266303EADA9}" presName="accent_3" presStyleCnt="0"/>
      <dgm:spPr/>
    </dgm:pt>
    <dgm:pt modelId="{90BD0E18-2360-4CA9-9D95-4C3098C0D702}" type="pres">
      <dgm:prSet presAssocID="{01062D05-1DB7-2240-9D60-B266303EADA9}" presName="accentRepeatNode" presStyleLbl="solidFgAcc1" presStyleIdx="2" presStyleCnt="5"/>
      <dgm:spPr/>
    </dgm:pt>
    <dgm:pt modelId="{47001875-CA46-4EE8-AC80-23399A0A36C3}" type="pres">
      <dgm:prSet presAssocID="{D67EE61F-9EBB-AC43-B67A-457DB46DE420}" presName="text_4" presStyleLbl="node1" presStyleIdx="3" presStyleCnt="5">
        <dgm:presLayoutVars>
          <dgm:bulletEnabled val="1"/>
        </dgm:presLayoutVars>
      </dgm:prSet>
      <dgm:spPr/>
    </dgm:pt>
    <dgm:pt modelId="{DCCC337C-5D67-470B-81DF-3BFFD8D1A712}" type="pres">
      <dgm:prSet presAssocID="{D67EE61F-9EBB-AC43-B67A-457DB46DE420}" presName="accent_4" presStyleCnt="0"/>
      <dgm:spPr/>
    </dgm:pt>
    <dgm:pt modelId="{6FB48AF7-943A-477E-B617-9FFFF46EE6D5}" type="pres">
      <dgm:prSet presAssocID="{D67EE61F-9EBB-AC43-B67A-457DB46DE420}" presName="accentRepeatNode" presStyleLbl="solidFgAcc1" presStyleIdx="3" presStyleCnt="5"/>
      <dgm:spPr/>
    </dgm:pt>
    <dgm:pt modelId="{1DD0B20F-CD6E-44CA-8AA4-3B90D88BB4F2}" type="pres">
      <dgm:prSet presAssocID="{889ED898-9097-F84E-8CE1-1ECF4F359D72}" presName="text_5" presStyleLbl="node1" presStyleIdx="4" presStyleCnt="5">
        <dgm:presLayoutVars>
          <dgm:bulletEnabled val="1"/>
        </dgm:presLayoutVars>
      </dgm:prSet>
      <dgm:spPr/>
    </dgm:pt>
    <dgm:pt modelId="{4756E526-0F30-43BD-B1EB-8450A4FA0809}" type="pres">
      <dgm:prSet presAssocID="{889ED898-9097-F84E-8CE1-1ECF4F359D72}" presName="accent_5" presStyleCnt="0"/>
      <dgm:spPr/>
    </dgm:pt>
    <dgm:pt modelId="{49E82A93-E1E5-4290-96CB-CDE878D1562A}" type="pres">
      <dgm:prSet presAssocID="{889ED898-9097-F84E-8CE1-1ECF4F359D72}" presName="accentRepeatNode" presStyleLbl="solidFgAcc1" presStyleIdx="4" presStyleCnt="5"/>
      <dgm:spPr/>
    </dgm:pt>
  </dgm:ptLst>
  <dgm:cxnLst>
    <dgm:cxn modelId="{94A6A108-950A-7742-BB28-86DC6471BC35}" srcId="{5CF4D136-07B5-CB48-8AC5-E29E1B725C96}" destId="{42CA4AEB-579A-C346-8702-9757006E7D6F}" srcOrd="1" destOrd="0" parTransId="{C385B0F3-8573-E844-AF28-34F7EF510D4A}" sibTransId="{97448BED-EC72-4148-B846-EF89C8E4EF35}"/>
    <dgm:cxn modelId="{B4882C0C-CCD2-49BF-AE45-7D84A0753F74}" type="presOf" srcId="{A08D9833-E921-A74F-8093-ACDEDB4FC0CD}" destId="{E7B5845C-70E5-42E6-B549-69B3BA727D6E}" srcOrd="0" destOrd="0" presId="urn:microsoft.com/office/officeart/2008/layout/VerticalCurvedList"/>
    <dgm:cxn modelId="{A09A2E35-9F2A-4536-9309-2CE5C770EC16}" type="presOf" srcId="{889ED898-9097-F84E-8CE1-1ECF4F359D72}" destId="{1DD0B20F-CD6E-44CA-8AA4-3B90D88BB4F2}" srcOrd="0" destOrd="0" presId="urn:microsoft.com/office/officeart/2008/layout/VerticalCurvedList"/>
    <dgm:cxn modelId="{EA4C7F46-9B7E-7844-8B44-4C335B3096F4}" srcId="{5CF4D136-07B5-CB48-8AC5-E29E1B725C96}" destId="{889ED898-9097-F84E-8CE1-1ECF4F359D72}" srcOrd="4" destOrd="0" parTransId="{70C0EF91-B882-EF4D-88F1-193E823A1924}" sibTransId="{FF298DF6-ACBB-9B44-A251-E9C97FE66B73}"/>
    <dgm:cxn modelId="{A7745469-6C76-0341-9F2F-AF15CBD01651}" srcId="{5CF4D136-07B5-CB48-8AC5-E29E1B725C96}" destId="{A08D9833-E921-A74F-8093-ACDEDB4FC0CD}" srcOrd="0" destOrd="0" parTransId="{BEB2D3FE-652C-384F-AA3F-6FC8DD3C69CB}" sibTransId="{218528F4-A84C-904C-9DD6-094BBF7FB143}"/>
    <dgm:cxn modelId="{4DB88053-7212-44DB-A360-16102A62A3FF}" type="presOf" srcId="{42CA4AEB-579A-C346-8702-9757006E7D6F}" destId="{01F8AE9A-764E-4945-A319-EB7F5D9726E5}" srcOrd="0" destOrd="0" presId="urn:microsoft.com/office/officeart/2008/layout/VerticalCurvedList"/>
    <dgm:cxn modelId="{F00C1A56-B501-574A-AFBF-5115684E0029}" srcId="{5CF4D136-07B5-CB48-8AC5-E29E1B725C96}" destId="{01062D05-1DB7-2240-9D60-B266303EADA9}" srcOrd="2" destOrd="0" parTransId="{8E1DD693-1273-1941-A3C9-BF3B4B48A31D}" sibTransId="{72CA4154-3E8A-7F4C-BB1E-8DCA39085687}"/>
    <dgm:cxn modelId="{6474007C-C802-4D00-B994-9B9DABC96F8E}" type="presOf" srcId="{D67EE61F-9EBB-AC43-B67A-457DB46DE420}" destId="{47001875-CA46-4EE8-AC80-23399A0A36C3}" srcOrd="0" destOrd="0" presId="urn:microsoft.com/office/officeart/2008/layout/VerticalCurvedList"/>
    <dgm:cxn modelId="{CE5F2185-5BF5-5C49-B99D-8F9B084B4BBE}" srcId="{5CF4D136-07B5-CB48-8AC5-E29E1B725C96}" destId="{D67EE61F-9EBB-AC43-B67A-457DB46DE420}" srcOrd="3" destOrd="0" parTransId="{30545E00-4D7A-5447-95B8-F0AD7B4F91D2}" sibTransId="{7CC39F28-15CC-374A-ADD2-13E1FBEF5A05}"/>
    <dgm:cxn modelId="{D568D8D5-F8C7-4C63-9492-DECA0224C762}" type="presOf" srcId="{01062D05-1DB7-2240-9D60-B266303EADA9}" destId="{C4EE96EA-0175-4B1D-8984-A554FE4EDCEB}" srcOrd="0" destOrd="0" presId="urn:microsoft.com/office/officeart/2008/layout/VerticalCurvedList"/>
    <dgm:cxn modelId="{45E59EF1-61DA-457D-9ADA-CAE73D417FC4}" type="presOf" srcId="{5CF4D136-07B5-CB48-8AC5-E29E1B725C96}" destId="{DE80D903-2F6D-4CA0-99D7-B0EA0FB5CF75}" srcOrd="0" destOrd="0" presId="urn:microsoft.com/office/officeart/2008/layout/VerticalCurvedList"/>
    <dgm:cxn modelId="{9A3E94F5-7183-4787-B568-E3AD236EE54C}" type="presOf" srcId="{218528F4-A84C-904C-9DD6-094BBF7FB143}" destId="{420570D2-9C06-4B21-A3AA-C6C8AE634554}" srcOrd="0" destOrd="0" presId="urn:microsoft.com/office/officeart/2008/layout/VerticalCurvedList"/>
    <dgm:cxn modelId="{5E676B08-A692-458A-BF3C-4D0CE068966B}" type="presParOf" srcId="{DE80D903-2F6D-4CA0-99D7-B0EA0FB5CF75}" destId="{A1D06B89-A834-4B8D-A591-8D2B3D68CD3A}" srcOrd="0" destOrd="0" presId="urn:microsoft.com/office/officeart/2008/layout/VerticalCurvedList"/>
    <dgm:cxn modelId="{A4C93949-9176-4298-B693-BEDABFC4CA25}" type="presParOf" srcId="{A1D06B89-A834-4B8D-A591-8D2B3D68CD3A}" destId="{C7DBF741-24BF-4175-8DE3-7CE04756B115}" srcOrd="0" destOrd="0" presId="urn:microsoft.com/office/officeart/2008/layout/VerticalCurvedList"/>
    <dgm:cxn modelId="{000C4496-5FDE-42E6-9162-E54705AC40A4}" type="presParOf" srcId="{C7DBF741-24BF-4175-8DE3-7CE04756B115}" destId="{F9B7F00F-3FEA-460F-A0C4-70F69D4E4D9D}" srcOrd="0" destOrd="0" presId="urn:microsoft.com/office/officeart/2008/layout/VerticalCurvedList"/>
    <dgm:cxn modelId="{33AA2484-8B8C-494D-9E4B-354C7B02B0BE}" type="presParOf" srcId="{C7DBF741-24BF-4175-8DE3-7CE04756B115}" destId="{420570D2-9C06-4B21-A3AA-C6C8AE634554}" srcOrd="1" destOrd="0" presId="urn:microsoft.com/office/officeart/2008/layout/VerticalCurvedList"/>
    <dgm:cxn modelId="{49B4FDE1-7327-4B25-8EB8-83161B838CBB}" type="presParOf" srcId="{C7DBF741-24BF-4175-8DE3-7CE04756B115}" destId="{433F124E-9405-4989-B40D-5EAA46A326F5}" srcOrd="2" destOrd="0" presId="urn:microsoft.com/office/officeart/2008/layout/VerticalCurvedList"/>
    <dgm:cxn modelId="{996E5D06-4D4B-4295-93E5-494E1FDEE5CF}" type="presParOf" srcId="{C7DBF741-24BF-4175-8DE3-7CE04756B115}" destId="{1103FC19-FCBA-4B53-8525-81FE601E4E6C}" srcOrd="3" destOrd="0" presId="urn:microsoft.com/office/officeart/2008/layout/VerticalCurvedList"/>
    <dgm:cxn modelId="{B8173F4D-2DB3-474C-991E-668099869028}" type="presParOf" srcId="{A1D06B89-A834-4B8D-A591-8D2B3D68CD3A}" destId="{E7B5845C-70E5-42E6-B549-69B3BA727D6E}" srcOrd="1" destOrd="0" presId="urn:microsoft.com/office/officeart/2008/layout/VerticalCurvedList"/>
    <dgm:cxn modelId="{3616DB5C-CAD0-4CDF-BF0D-AD8866D2B4E0}" type="presParOf" srcId="{A1D06B89-A834-4B8D-A591-8D2B3D68CD3A}" destId="{09BC7E6C-4F26-4B6F-A065-4B114C4DCD71}" srcOrd="2" destOrd="0" presId="urn:microsoft.com/office/officeart/2008/layout/VerticalCurvedList"/>
    <dgm:cxn modelId="{B022C50D-586B-40C3-90CA-2EF86D4A6DE2}" type="presParOf" srcId="{09BC7E6C-4F26-4B6F-A065-4B114C4DCD71}" destId="{BF8F3EC3-803C-4773-97E7-FD04DA8F906E}" srcOrd="0" destOrd="0" presId="urn:microsoft.com/office/officeart/2008/layout/VerticalCurvedList"/>
    <dgm:cxn modelId="{8C65296F-8AC3-444C-9907-94B75B066377}" type="presParOf" srcId="{A1D06B89-A834-4B8D-A591-8D2B3D68CD3A}" destId="{01F8AE9A-764E-4945-A319-EB7F5D9726E5}" srcOrd="3" destOrd="0" presId="urn:microsoft.com/office/officeart/2008/layout/VerticalCurvedList"/>
    <dgm:cxn modelId="{80C13973-EC01-4CD7-897D-CCC95CA4DFDD}" type="presParOf" srcId="{A1D06B89-A834-4B8D-A591-8D2B3D68CD3A}" destId="{66CF9B83-550C-48D4-A3BC-4CEC0A896C5C}" srcOrd="4" destOrd="0" presId="urn:microsoft.com/office/officeart/2008/layout/VerticalCurvedList"/>
    <dgm:cxn modelId="{728F2807-B39D-404F-BC7C-FAEAE48F9574}" type="presParOf" srcId="{66CF9B83-550C-48D4-A3BC-4CEC0A896C5C}" destId="{FDB08D9D-D08B-4AD5-B5EF-F3003C4159F8}" srcOrd="0" destOrd="0" presId="urn:microsoft.com/office/officeart/2008/layout/VerticalCurvedList"/>
    <dgm:cxn modelId="{48BC4350-9939-4510-AFEE-DF00FE36356E}" type="presParOf" srcId="{A1D06B89-A834-4B8D-A591-8D2B3D68CD3A}" destId="{C4EE96EA-0175-4B1D-8984-A554FE4EDCEB}" srcOrd="5" destOrd="0" presId="urn:microsoft.com/office/officeart/2008/layout/VerticalCurvedList"/>
    <dgm:cxn modelId="{A398D6F8-AFE2-48EC-9A65-3D0C0CEFB46A}" type="presParOf" srcId="{A1D06B89-A834-4B8D-A591-8D2B3D68CD3A}" destId="{490BD3A0-BDA1-4985-A2D1-8E08CED7D5C8}" srcOrd="6" destOrd="0" presId="urn:microsoft.com/office/officeart/2008/layout/VerticalCurvedList"/>
    <dgm:cxn modelId="{3A21971A-07EB-4992-9243-05E622478D38}" type="presParOf" srcId="{490BD3A0-BDA1-4985-A2D1-8E08CED7D5C8}" destId="{90BD0E18-2360-4CA9-9D95-4C3098C0D702}" srcOrd="0" destOrd="0" presId="urn:microsoft.com/office/officeart/2008/layout/VerticalCurvedList"/>
    <dgm:cxn modelId="{D745217A-314F-41F5-906C-25E59FC0DE92}" type="presParOf" srcId="{A1D06B89-A834-4B8D-A591-8D2B3D68CD3A}" destId="{47001875-CA46-4EE8-AC80-23399A0A36C3}" srcOrd="7" destOrd="0" presId="urn:microsoft.com/office/officeart/2008/layout/VerticalCurvedList"/>
    <dgm:cxn modelId="{CD50B6B6-D25B-45E8-8B6B-8EC667763DC4}" type="presParOf" srcId="{A1D06B89-A834-4B8D-A591-8D2B3D68CD3A}" destId="{DCCC337C-5D67-470B-81DF-3BFFD8D1A712}" srcOrd="8" destOrd="0" presId="urn:microsoft.com/office/officeart/2008/layout/VerticalCurvedList"/>
    <dgm:cxn modelId="{7ABBC0EF-EF40-4312-A0C8-54532C45FA31}" type="presParOf" srcId="{DCCC337C-5D67-470B-81DF-3BFFD8D1A712}" destId="{6FB48AF7-943A-477E-B617-9FFFF46EE6D5}" srcOrd="0" destOrd="0" presId="urn:microsoft.com/office/officeart/2008/layout/VerticalCurvedList"/>
    <dgm:cxn modelId="{56E35EF1-6A89-4B51-B929-4199A37340E0}" type="presParOf" srcId="{A1D06B89-A834-4B8D-A591-8D2B3D68CD3A}" destId="{1DD0B20F-CD6E-44CA-8AA4-3B90D88BB4F2}" srcOrd="9" destOrd="0" presId="urn:microsoft.com/office/officeart/2008/layout/VerticalCurvedList"/>
    <dgm:cxn modelId="{3AFA3943-E040-45B5-B152-F9A89B5D9516}" type="presParOf" srcId="{A1D06B89-A834-4B8D-A591-8D2B3D68CD3A}" destId="{4756E526-0F30-43BD-B1EB-8450A4FA0809}" srcOrd="10" destOrd="0" presId="urn:microsoft.com/office/officeart/2008/layout/VerticalCurvedList"/>
    <dgm:cxn modelId="{3FE462DE-10DD-479D-9607-040173FB2BFC}" type="presParOf" srcId="{4756E526-0F30-43BD-B1EB-8450A4FA0809}" destId="{49E82A93-E1E5-4290-96CB-CDE878D1562A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169FC7E-837F-4F45-8022-7E6E7114E890}">
      <dsp:nvSpPr>
        <dsp:cNvPr id="0" name=""/>
        <dsp:cNvSpPr/>
      </dsp:nvSpPr>
      <dsp:spPr>
        <a:xfrm>
          <a:off x="-4254165" y="-701808"/>
          <a:ext cx="5452501" cy="5452501"/>
        </a:xfrm>
        <a:prstGeom prst="blockArc">
          <a:avLst>
            <a:gd name="adj1" fmla="val 18900000"/>
            <a:gd name="adj2" fmla="val 2700000"/>
            <a:gd name="adj3" fmla="val 396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4DDD98A-5199-0847-9BE3-2D0510C29A40}">
      <dsp:nvSpPr>
        <dsp:cNvPr id="0" name=""/>
        <dsp:cNvSpPr/>
      </dsp:nvSpPr>
      <dsp:spPr>
        <a:xfrm>
          <a:off x="1391406" y="404888"/>
          <a:ext cx="6697919" cy="809777"/>
        </a:xfrm>
        <a:prstGeom prst="rect">
          <a:avLst/>
        </a:prstGeom>
        <a:solidFill>
          <a:srgbClr val="559BA9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2760" tIns="106680" rIns="106680" bIns="106680" numCol="1" spcCol="1270" anchor="ctr" anchorCtr="0">
          <a:noAutofit/>
        </a:bodyPr>
        <a:lstStyle/>
        <a:p>
          <a:pPr marL="0" lvl="0" indent="0" algn="l" defTabSz="1866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4200" kern="1200" dirty="0"/>
            <a:t>Alternative brensler</a:t>
          </a:r>
        </a:p>
      </dsp:txBody>
      <dsp:txXfrm>
        <a:off x="1391406" y="404888"/>
        <a:ext cx="6697919" cy="809777"/>
      </dsp:txXfrm>
    </dsp:sp>
    <dsp:sp modelId="{BDF76629-C3BA-2C43-AC00-B40AAB7C4FC4}">
      <dsp:nvSpPr>
        <dsp:cNvPr id="0" name=""/>
        <dsp:cNvSpPr/>
      </dsp:nvSpPr>
      <dsp:spPr>
        <a:xfrm>
          <a:off x="167253" y="91049"/>
          <a:ext cx="1437455" cy="1437455"/>
        </a:xfrm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B4F8CC4-D2E0-6442-BAA2-08B85C4836D8}">
      <dsp:nvSpPr>
        <dsp:cNvPr id="0" name=""/>
        <dsp:cNvSpPr/>
      </dsp:nvSpPr>
      <dsp:spPr>
        <a:xfrm>
          <a:off x="1615709" y="1619554"/>
          <a:ext cx="6543668" cy="809777"/>
        </a:xfrm>
        <a:prstGeom prst="rect">
          <a:avLst/>
        </a:prstGeom>
        <a:solidFill>
          <a:schemeClr val="accent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2760" tIns="106680" rIns="106680" bIns="106680" numCol="1" spcCol="1270" anchor="ctr" anchorCtr="0">
          <a:noAutofit/>
        </a:bodyPr>
        <a:lstStyle/>
        <a:p>
          <a:pPr marL="0" lvl="0" indent="0" algn="l" defTabSz="1866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4200" kern="1200" dirty="0"/>
            <a:t>Alternative råmaterialer</a:t>
          </a:r>
        </a:p>
      </dsp:txBody>
      <dsp:txXfrm>
        <a:off x="1615709" y="1619554"/>
        <a:ext cx="6543668" cy="809777"/>
      </dsp:txXfrm>
    </dsp:sp>
    <dsp:sp modelId="{062A0D5E-8520-9A43-916F-9184956CDBAB}">
      <dsp:nvSpPr>
        <dsp:cNvPr id="0" name=""/>
        <dsp:cNvSpPr/>
      </dsp:nvSpPr>
      <dsp:spPr>
        <a:xfrm>
          <a:off x="461607" y="1305714"/>
          <a:ext cx="1437455" cy="1437455"/>
        </a:xfrm>
        <a:prstGeom prst="ellipse">
          <a:avLst/>
        </a:prstGeom>
        <a:blipFill rotWithShape="0">
          <a:blip xmlns:r="http://schemas.openxmlformats.org/officeDocument/2006/relationships" r:embed="rId2"/>
          <a:stretch>
            <a:fillRect/>
          </a:stretch>
        </a:blip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F10FC39-DE39-A14A-AB80-B3F0408FA58F}">
      <dsp:nvSpPr>
        <dsp:cNvPr id="0" name=""/>
        <dsp:cNvSpPr/>
      </dsp:nvSpPr>
      <dsp:spPr>
        <a:xfrm>
          <a:off x="1363886" y="2834219"/>
          <a:ext cx="6752960" cy="809777"/>
        </a:xfrm>
        <a:prstGeom prst="rect">
          <a:avLst/>
        </a:prstGeom>
        <a:solidFill>
          <a:schemeClr val="accent5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2760" tIns="106680" rIns="106680" bIns="106680" numCol="1" spcCol="1270" anchor="ctr" anchorCtr="0">
          <a:noAutofit/>
        </a:bodyPr>
        <a:lstStyle/>
        <a:p>
          <a:pPr marL="0" lvl="0" indent="0" algn="l" defTabSz="1866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4200" kern="1200" dirty="0"/>
            <a:t>Karbonfangst</a:t>
          </a:r>
        </a:p>
      </dsp:txBody>
      <dsp:txXfrm>
        <a:off x="1363886" y="2834219"/>
        <a:ext cx="6752960" cy="809777"/>
      </dsp:txXfrm>
    </dsp:sp>
    <dsp:sp modelId="{AE44AD45-9626-7B4D-91A6-6FD2F9823712}">
      <dsp:nvSpPr>
        <dsp:cNvPr id="0" name=""/>
        <dsp:cNvSpPr/>
      </dsp:nvSpPr>
      <dsp:spPr>
        <a:xfrm>
          <a:off x="167253" y="2520380"/>
          <a:ext cx="1437455" cy="1437455"/>
        </a:xfrm>
        <a:prstGeom prst="ellipse">
          <a:avLst/>
        </a:prstGeom>
        <a:blipFill rotWithShape="0">
          <a:blip xmlns:r="http://schemas.openxmlformats.org/officeDocument/2006/relationships" r:embed="rId3"/>
          <a:stretch>
            <a:fillRect/>
          </a:stretch>
        </a:blip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20570D2-9C06-4B21-A3AA-C6C8AE634554}">
      <dsp:nvSpPr>
        <dsp:cNvPr id="0" name=""/>
        <dsp:cNvSpPr/>
      </dsp:nvSpPr>
      <dsp:spPr>
        <a:xfrm>
          <a:off x="-4625000" y="-709069"/>
          <a:ext cx="5509243" cy="5509243"/>
        </a:xfrm>
        <a:prstGeom prst="blockArc">
          <a:avLst>
            <a:gd name="adj1" fmla="val 18900000"/>
            <a:gd name="adj2" fmla="val 2700000"/>
            <a:gd name="adj3" fmla="val 392"/>
          </a:avLst>
        </a:prstGeom>
        <a:noFill/>
        <a:ln w="127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7B5845C-70E5-42E6-B549-69B3BA727D6E}">
      <dsp:nvSpPr>
        <dsp:cNvPr id="0" name=""/>
        <dsp:cNvSpPr/>
      </dsp:nvSpPr>
      <dsp:spPr>
        <a:xfrm>
          <a:off x="387042" y="255612"/>
          <a:ext cx="4438581" cy="511551"/>
        </a:xfrm>
        <a:prstGeom prst="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044" tIns="38100" rIns="38100" bIns="3810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500" kern="1200" dirty="0"/>
            <a:t>Noen må være villig til stikke ut hodet!</a:t>
          </a:r>
        </a:p>
      </dsp:txBody>
      <dsp:txXfrm>
        <a:off x="387042" y="255612"/>
        <a:ext cx="4438581" cy="511551"/>
      </dsp:txXfrm>
    </dsp:sp>
    <dsp:sp modelId="{BF8F3EC3-803C-4773-97E7-FD04DA8F906E}">
      <dsp:nvSpPr>
        <dsp:cNvPr id="0" name=""/>
        <dsp:cNvSpPr/>
      </dsp:nvSpPr>
      <dsp:spPr>
        <a:xfrm>
          <a:off x="67323" y="191668"/>
          <a:ext cx="639439" cy="63943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1F8AE9A-764E-4945-A319-EB7F5D9726E5}">
      <dsp:nvSpPr>
        <dsp:cNvPr id="0" name=""/>
        <dsp:cNvSpPr/>
      </dsp:nvSpPr>
      <dsp:spPr>
        <a:xfrm>
          <a:off x="753605" y="1022694"/>
          <a:ext cx="4072018" cy="511551"/>
        </a:xfrm>
        <a:prstGeom prst="rect">
          <a:avLst/>
        </a:prstGeom>
        <a:solidFill>
          <a:schemeClr val="accent2">
            <a:shade val="80000"/>
            <a:hueOff val="-205668"/>
            <a:satOff val="-20708"/>
            <a:lumOff val="1037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044" tIns="38100" rIns="38100" bIns="3810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500" kern="1200" dirty="0"/>
            <a:t>Støtte hos ledelsen - forsøk lykkes ikke alltid!</a:t>
          </a:r>
        </a:p>
      </dsp:txBody>
      <dsp:txXfrm>
        <a:off x="753605" y="1022694"/>
        <a:ext cx="4072018" cy="511551"/>
      </dsp:txXfrm>
    </dsp:sp>
    <dsp:sp modelId="{FDB08D9D-D08B-4AD5-B5EF-F3003C4159F8}">
      <dsp:nvSpPr>
        <dsp:cNvPr id="0" name=""/>
        <dsp:cNvSpPr/>
      </dsp:nvSpPr>
      <dsp:spPr>
        <a:xfrm>
          <a:off x="433885" y="958750"/>
          <a:ext cx="639439" cy="63943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-205668"/>
              <a:satOff val="-20708"/>
              <a:lumOff val="10374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4EE96EA-0175-4B1D-8984-A554FE4EDCEB}">
      <dsp:nvSpPr>
        <dsp:cNvPr id="0" name=""/>
        <dsp:cNvSpPr/>
      </dsp:nvSpPr>
      <dsp:spPr>
        <a:xfrm>
          <a:off x="866111" y="1789776"/>
          <a:ext cx="3959513" cy="511551"/>
        </a:xfrm>
        <a:prstGeom prst="rect">
          <a:avLst/>
        </a:prstGeom>
        <a:solidFill>
          <a:schemeClr val="accent2">
            <a:shade val="80000"/>
            <a:hueOff val="-411337"/>
            <a:satOff val="-41417"/>
            <a:lumOff val="2074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044" tIns="38100" rIns="38100" bIns="3810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500" kern="1200" dirty="0"/>
            <a:t>Forsøk koster – men det er støtteordninger!</a:t>
          </a:r>
        </a:p>
      </dsp:txBody>
      <dsp:txXfrm>
        <a:off x="866111" y="1789776"/>
        <a:ext cx="3959513" cy="511551"/>
      </dsp:txXfrm>
    </dsp:sp>
    <dsp:sp modelId="{90BD0E18-2360-4CA9-9D95-4C3098C0D702}">
      <dsp:nvSpPr>
        <dsp:cNvPr id="0" name=""/>
        <dsp:cNvSpPr/>
      </dsp:nvSpPr>
      <dsp:spPr>
        <a:xfrm>
          <a:off x="546391" y="1725832"/>
          <a:ext cx="639439" cy="63943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-411337"/>
              <a:satOff val="-41417"/>
              <a:lumOff val="20749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7001875-CA46-4EE8-AC80-23399A0A36C3}">
      <dsp:nvSpPr>
        <dsp:cNvPr id="0" name=""/>
        <dsp:cNvSpPr/>
      </dsp:nvSpPr>
      <dsp:spPr>
        <a:xfrm>
          <a:off x="753605" y="2556858"/>
          <a:ext cx="4072018" cy="511551"/>
        </a:xfrm>
        <a:prstGeom prst="rect">
          <a:avLst/>
        </a:prstGeom>
        <a:solidFill>
          <a:schemeClr val="accent2">
            <a:shade val="80000"/>
            <a:hueOff val="-617005"/>
            <a:satOff val="-62125"/>
            <a:lumOff val="3112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044" tIns="38100" rIns="38100" bIns="3810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500" kern="1200" dirty="0"/>
            <a:t>Politiske og andre rammebetingelser</a:t>
          </a:r>
        </a:p>
      </dsp:txBody>
      <dsp:txXfrm>
        <a:off x="753605" y="2556858"/>
        <a:ext cx="4072018" cy="511551"/>
      </dsp:txXfrm>
    </dsp:sp>
    <dsp:sp modelId="{6FB48AF7-943A-477E-B617-9FFFF46EE6D5}">
      <dsp:nvSpPr>
        <dsp:cNvPr id="0" name=""/>
        <dsp:cNvSpPr/>
      </dsp:nvSpPr>
      <dsp:spPr>
        <a:xfrm>
          <a:off x="433885" y="2492914"/>
          <a:ext cx="639439" cy="63943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-617005"/>
              <a:satOff val="-62125"/>
              <a:lumOff val="31123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DD0B20F-CD6E-44CA-8AA4-3B90D88BB4F2}">
      <dsp:nvSpPr>
        <dsp:cNvPr id="0" name=""/>
        <dsp:cNvSpPr/>
      </dsp:nvSpPr>
      <dsp:spPr>
        <a:xfrm>
          <a:off x="387042" y="3323940"/>
          <a:ext cx="4438581" cy="511551"/>
        </a:xfrm>
        <a:prstGeom prst="rect">
          <a:avLst/>
        </a:prstGeom>
        <a:solidFill>
          <a:schemeClr val="accent2">
            <a:shade val="80000"/>
            <a:hueOff val="-822674"/>
            <a:satOff val="-82834"/>
            <a:lumOff val="4149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044" tIns="38100" rIns="38100" bIns="3810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500" kern="1200" dirty="0"/>
            <a:t>Langsiktig business case </a:t>
          </a:r>
        </a:p>
      </dsp:txBody>
      <dsp:txXfrm>
        <a:off x="387042" y="3323940"/>
        <a:ext cx="4438581" cy="511551"/>
      </dsp:txXfrm>
    </dsp:sp>
    <dsp:sp modelId="{49E82A93-E1E5-4290-96CB-CDE878D1562A}">
      <dsp:nvSpPr>
        <dsp:cNvPr id="0" name=""/>
        <dsp:cNvSpPr/>
      </dsp:nvSpPr>
      <dsp:spPr>
        <a:xfrm>
          <a:off x="67323" y="3259996"/>
          <a:ext cx="639439" cy="63943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-822674"/>
              <a:satOff val="-82834"/>
              <a:lumOff val="41497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1" cy="466435"/>
          </a:xfrm>
          <a:prstGeom prst="rect">
            <a:avLst/>
          </a:prstGeom>
        </p:spPr>
        <p:txBody>
          <a:bodyPr vert="horz" lIns="95563" tIns="47781" rIns="95563" bIns="47781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1" cy="466435"/>
          </a:xfrm>
          <a:prstGeom prst="rect">
            <a:avLst/>
          </a:prstGeom>
        </p:spPr>
        <p:txBody>
          <a:bodyPr vert="horz" lIns="95563" tIns="47781" rIns="95563" bIns="47781" rtlCol="0"/>
          <a:lstStyle>
            <a:lvl1pPr algn="r">
              <a:defRPr sz="1300"/>
            </a:lvl1pPr>
          </a:lstStyle>
          <a:p>
            <a:fld id="{66A17B7E-490B-40D6-B2F7-E7AD87CC00F3}" type="datetimeFigureOut">
              <a:rPr lang="de-DE" smtClean="0"/>
              <a:t>04.11.2021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1" cy="466433"/>
          </a:xfrm>
          <a:prstGeom prst="rect">
            <a:avLst/>
          </a:prstGeom>
        </p:spPr>
        <p:txBody>
          <a:bodyPr vert="horz" lIns="95563" tIns="47781" rIns="95563" bIns="47781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1" cy="466433"/>
          </a:xfrm>
          <a:prstGeom prst="rect">
            <a:avLst/>
          </a:prstGeom>
        </p:spPr>
        <p:txBody>
          <a:bodyPr vert="horz" lIns="95563" tIns="47781" rIns="95563" bIns="47781" rtlCol="0" anchor="b"/>
          <a:lstStyle>
            <a:lvl1pPr algn="r">
              <a:defRPr sz="1300"/>
            </a:lvl1pPr>
          </a:lstStyle>
          <a:p>
            <a:fld id="{00617165-D0FD-48D2-9F5A-6C5E457EFAC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525302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1" cy="466435"/>
          </a:xfrm>
          <a:prstGeom prst="rect">
            <a:avLst/>
          </a:prstGeom>
        </p:spPr>
        <p:txBody>
          <a:bodyPr vert="horz" lIns="95563" tIns="47781" rIns="95563" bIns="47781" rtlCol="0"/>
          <a:lstStyle>
            <a:lvl1pPr algn="l" eaLnBrk="1">
              <a:defRPr sz="1300"/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1" cy="466435"/>
          </a:xfrm>
          <a:prstGeom prst="rect">
            <a:avLst/>
          </a:prstGeom>
        </p:spPr>
        <p:txBody>
          <a:bodyPr vert="horz" lIns="95563" tIns="47781" rIns="95563" bIns="47781" rtlCol="0"/>
          <a:lstStyle>
            <a:lvl1pPr algn="r">
              <a:defRPr sz="1300"/>
            </a:lvl1pPr>
          </a:lstStyle>
          <a:p>
            <a:fld id="{6A969C76-5D27-4EFB-BFB3-B6290256358D}" type="datetimeFigureOut">
              <a:rPr lang="en-US" smtClean="0"/>
              <a:t>11/4/2021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708025" y="1162050"/>
            <a:ext cx="559435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63" tIns="47781" rIns="95563" bIns="47781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1041" y="4473893"/>
            <a:ext cx="5608320" cy="3660457"/>
          </a:xfrm>
          <a:prstGeom prst="rect">
            <a:avLst/>
          </a:prstGeom>
        </p:spPr>
        <p:txBody>
          <a:bodyPr vert="horz" lIns="95563" tIns="47781" rIns="95563" bIns="47781" rtlCol="0"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1" cy="466433"/>
          </a:xfrm>
          <a:prstGeom prst="rect">
            <a:avLst/>
          </a:prstGeom>
        </p:spPr>
        <p:txBody>
          <a:bodyPr vert="horz" lIns="95563" tIns="47781" rIns="95563" bIns="47781" rtlCol="0" anchor="b"/>
          <a:lstStyle>
            <a:lvl1pPr algn="l" eaLnBrk="1">
              <a:defRPr sz="1300"/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1" cy="466433"/>
          </a:xfrm>
          <a:prstGeom prst="rect">
            <a:avLst/>
          </a:prstGeom>
        </p:spPr>
        <p:txBody>
          <a:bodyPr vert="horz" lIns="95563" tIns="47781" rIns="95563" bIns="47781" rtlCol="0" anchor="b"/>
          <a:lstStyle>
            <a:lvl1pPr algn="r">
              <a:defRPr sz="1300"/>
            </a:lvl1pPr>
          </a:lstStyle>
          <a:p>
            <a:fld id="{BAF7120A-F9E1-4D6E-BAE6-A4F0A399E8D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44520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755021" rtl="0" eaLnBrk="1" latinLnBrk="0" hangingPunct="1">
      <a:defRPr sz="991" kern="1200">
        <a:solidFill>
          <a:schemeClr val="tx1"/>
        </a:solidFill>
        <a:latin typeface="+mn-lt"/>
        <a:ea typeface="+mn-ea"/>
        <a:cs typeface="+mn-cs"/>
      </a:defRPr>
    </a:lvl1pPr>
    <a:lvl2pPr marL="377510" algn="l" defTabSz="755021" rtl="0" eaLnBrk="1" latinLnBrk="0" hangingPunct="1">
      <a:defRPr sz="991" kern="1200">
        <a:solidFill>
          <a:schemeClr val="tx1"/>
        </a:solidFill>
        <a:latin typeface="+mn-lt"/>
        <a:ea typeface="+mn-ea"/>
        <a:cs typeface="+mn-cs"/>
      </a:defRPr>
    </a:lvl2pPr>
    <a:lvl3pPr marL="755021" algn="l" defTabSz="755021" rtl="0" eaLnBrk="1" latinLnBrk="0" hangingPunct="1">
      <a:defRPr sz="991" kern="1200">
        <a:solidFill>
          <a:schemeClr val="tx1"/>
        </a:solidFill>
        <a:latin typeface="+mn-lt"/>
        <a:ea typeface="+mn-ea"/>
        <a:cs typeface="+mn-cs"/>
      </a:defRPr>
    </a:lvl3pPr>
    <a:lvl4pPr marL="1132529" algn="l" defTabSz="755021" rtl="0" eaLnBrk="1" latinLnBrk="0" hangingPunct="1">
      <a:defRPr sz="991" kern="1200">
        <a:solidFill>
          <a:schemeClr val="tx1"/>
        </a:solidFill>
        <a:latin typeface="+mn-lt"/>
        <a:ea typeface="+mn-ea"/>
        <a:cs typeface="+mn-cs"/>
      </a:defRPr>
    </a:lvl4pPr>
    <a:lvl5pPr marL="1510040" algn="l" defTabSz="755021" rtl="0" eaLnBrk="1" latinLnBrk="0" hangingPunct="1">
      <a:defRPr sz="991" kern="1200">
        <a:solidFill>
          <a:schemeClr val="tx1"/>
        </a:solidFill>
        <a:latin typeface="+mn-lt"/>
        <a:ea typeface="+mn-ea"/>
        <a:cs typeface="+mn-cs"/>
      </a:defRPr>
    </a:lvl5pPr>
    <a:lvl6pPr marL="1887550" algn="l" defTabSz="755021" rtl="0" eaLnBrk="1" latinLnBrk="0" hangingPunct="1">
      <a:defRPr sz="991" kern="1200">
        <a:solidFill>
          <a:schemeClr val="tx1"/>
        </a:solidFill>
        <a:latin typeface="+mn-lt"/>
        <a:ea typeface="+mn-ea"/>
        <a:cs typeface="+mn-cs"/>
      </a:defRPr>
    </a:lvl6pPr>
    <a:lvl7pPr marL="2265060" algn="l" defTabSz="755021" rtl="0" eaLnBrk="1" latinLnBrk="0" hangingPunct="1">
      <a:defRPr sz="991" kern="1200">
        <a:solidFill>
          <a:schemeClr val="tx1"/>
        </a:solidFill>
        <a:latin typeface="+mn-lt"/>
        <a:ea typeface="+mn-ea"/>
        <a:cs typeface="+mn-cs"/>
      </a:defRPr>
    </a:lvl7pPr>
    <a:lvl8pPr marL="2642569" algn="l" defTabSz="755021" rtl="0" eaLnBrk="1" latinLnBrk="0" hangingPunct="1">
      <a:defRPr sz="991" kern="1200">
        <a:solidFill>
          <a:schemeClr val="tx1"/>
        </a:solidFill>
        <a:latin typeface="+mn-lt"/>
        <a:ea typeface="+mn-ea"/>
        <a:cs typeface="+mn-cs"/>
      </a:defRPr>
    </a:lvl8pPr>
    <a:lvl9pPr marL="3020079" algn="l" defTabSz="755021" rtl="0" eaLnBrk="1" latinLnBrk="0" hangingPunct="1">
      <a:defRPr sz="991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AF7120A-F9E1-4D6E-BAE6-A4F0A399E8D6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81624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F7120A-F9E1-4D6E-BAE6-A4F0A399E8D6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06088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F7120A-F9E1-4D6E-BAE6-A4F0A399E8D6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85924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F7120A-F9E1-4D6E-BAE6-A4F0A399E8D6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93183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F7120A-F9E1-4D6E-BAE6-A4F0A399E8D6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85501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3.png"/><Relationship Id="rId11" Type="http://schemas.openxmlformats.org/officeDocument/2006/relationships/image" Target="../media/image7.png"/><Relationship Id="rId5" Type="http://schemas.openxmlformats.org/officeDocument/2006/relationships/image" Target="../media/image2.png"/><Relationship Id="rId10" Type="http://schemas.openxmlformats.org/officeDocument/2006/relationships/image" Target="../media/image6.png"/><Relationship Id="rId4" Type="http://schemas.openxmlformats.org/officeDocument/2006/relationships/image" Target="../media/image1.emf"/><Relationship Id="rId9" Type="http://schemas.openxmlformats.org/officeDocument/2006/relationships/hyperlink" Target="unite.grouphc.net/gcomm/Pages/CorporateDesign_en-US.aspx" TargetMode="Externa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-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77954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2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0080000" cy="5652000"/>
          </a:xfrm>
        </p:spPr>
        <p:txBody>
          <a:bodyPr lIns="180000" tIns="180000"/>
          <a:lstStyle/>
          <a:p>
            <a:r>
              <a:rPr lang="en-US" noProof="0" dirty="0"/>
              <a:t>Insert background image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584000"/>
            <a:ext cx="4987925" cy="2755125"/>
          </a:xfrm>
          <a:solidFill>
            <a:schemeClr val="tx2">
              <a:alpha val="80000"/>
            </a:schemeClr>
          </a:solidFill>
        </p:spPr>
        <p:txBody>
          <a:bodyPr lIns="576000" tIns="270000" rIns="360000" bIns="396000">
            <a:spAutoFit/>
          </a:bodyPr>
          <a:lstStyle>
            <a:lvl1pPr>
              <a:lnSpc>
                <a:spcPct val="100000"/>
              </a:lnSpc>
              <a:spcAft>
                <a:spcPts val="1000"/>
              </a:spcAft>
              <a:defRPr sz="3600" b="0">
                <a:solidFill>
                  <a:schemeClr val="bg1"/>
                </a:solidFill>
              </a:defRPr>
            </a:lvl1pPr>
            <a:lvl2pPr marL="0" indent="0">
              <a:lnSpc>
                <a:spcPts val="2200"/>
              </a:lnSpc>
              <a:buFontTx/>
              <a:buNone/>
              <a:defRPr sz="22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lnSpc>
                <a:spcPts val="2200"/>
              </a:lnSpc>
              <a:defRPr sz="22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lnSpc>
                <a:spcPts val="2200"/>
              </a:lnSpc>
              <a:defRPr sz="22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lnSpc>
                <a:spcPts val="2200"/>
              </a:lnSpc>
              <a:defRPr sz="22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 noProof="0" dirty="0"/>
              <a:t>Presentation title </a:t>
            </a:r>
            <a:br>
              <a:rPr lang="en-US" noProof="0" dirty="0"/>
            </a:br>
            <a:r>
              <a:rPr lang="en-US" noProof="0" dirty="0"/>
              <a:t>in Calibri Light 36 pt.</a:t>
            </a:r>
          </a:p>
          <a:p>
            <a:pPr lvl="1"/>
            <a:r>
              <a:rPr lang="en-US" noProof="0" dirty="0"/>
              <a:t>Additional text for presentation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  <a:br>
              <a:rPr lang="en-US" noProof="0" dirty="0"/>
            </a:br>
            <a:r>
              <a:rPr lang="en-US" noProof="0" dirty="0"/>
              <a:t>in Calibri 22 pt.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73B4E3BC-2956-4D6E-A0B8-B02A8213043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740000" y="180000"/>
            <a:ext cx="2340000" cy="543600"/>
          </a:xfrm>
          <a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lnSpc>
                <a:spcPts val="100"/>
              </a:lnSpc>
              <a:defRPr sz="100" baseline="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57128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86468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2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2000" y="5364000"/>
            <a:ext cx="1261875" cy="94488"/>
          </a:xfrm>
          <a:prstGeom prst="rect">
            <a:avLst/>
          </a:prstGeom>
        </p:spPr>
      </p:pic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AB30D31E-003F-438D-AE94-AB2787B544B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8163" y="228457"/>
            <a:ext cx="9252000" cy="180000"/>
          </a:xfrm>
          <a:noFill/>
        </p:spPr>
        <p:txBody>
          <a:bodyPr wrap="none"/>
          <a:lstStyle>
            <a:lvl1pPr algn="ctr">
              <a:lnSpc>
                <a:spcPts val="1400"/>
              </a:lnSpc>
              <a:spcAft>
                <a:spcPts val="0"/>
              </a:spcAft>
              <a:buFontTx/>
              <a:buNone/>
              <a:defRPr sz="1100" b="0" cap="all" spc="300" baseline="0">
                <a:solidFill>
                  <a:schemeClr val="tx2"/>
                </a:solidFill>
                <a:latin typeface="+mn-lt"/>
              </a:defRPr>
            </a:lvl1pPr>
            <a:lvl2pPr>
              <a:lnSpc>
                <a:spcPts val="1400"/>
              </a:lnSpc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  <a:latin typeface="+mn-lt"/>
                <a:cs typeface="Calibri" panose="020F0502020204030204" pitchFamily="34" charset="0"/>
              </a:defRPr>
            </a:lvl2pPr>
            <a:lvl3pPr marL="0" indent="0">
              <a:lnSpc>
                <a:spcPts val="1400"/>
              </a:lnSpc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  <a:latin typeface="+mn-lt"/>
                <a:cs typeface="Calibri" panose="020F0502020204030204" pitchFamily="34" charset="0"/>
              </a:defRPr>
            </a:lvl3pPr>
            <a:lvl4pPr marL="0" indent="0">
              <a:lnSpc>
                <a:spcPts val="1400"/>
              </a:lnSpc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  <a:latin typeface="+mn-lt"/>
                <a:cs typeface="Calibri" panose="020F0502020204030204" pitchFamily="34" charset="0"/>
              </a:defRPr>
            </a:lvl4pPr>
            <a:lvl5pPr marL="0" indent="0">
              <a:lnSpc>
                <a:spcPts val="1400"/>
              </a:lnSpc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  <a:latin typeface="+mn-lt"/>
                <a:cs typeface="Calibri" panose="020F0502020204030204" pitchFamily="34" charset="0"/>
              </a:defRPr>
            </a:lvl5pPr>
            <a:lvl6pPr marL="0" indent="0">
              <a:lnSpc>
                <a:spcPts val="14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ts val="14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ts val="14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  <a:latin typeface="+mn-lt"/>
              </a:defRPr>
            </a:lvl8pPr>
            <a:lvl9pPr marL="0" indent="0">
              <a:lnSpc>
                <a:spcPts val="14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Optional chapter heading in Calibri Light 11 pt.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539999" y="429949"/>
            <a:ext cx="9252000" cy="324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Headline in one line in Calibri 22 pt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122AD5BC-8916-4602-A3BF-BB5E8B0B6D18}"/>
              </a:ext>
            </a:extLst>
          </p:cNvPr>
          <p:cNvSpPr/>
          <p:nvPr userDrawn="1"/>
        </p:nvSpPr>
        <p:spPr>
          <a:xfrm>
            <a:off x="4665600" y="828000"/>
            <a:ext cx="1008000" cy="2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noProof="0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108460" y="4861089"/>
            <a:ext cx="681703" cy="405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6918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sclaim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8197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2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Headline in one line in Calibri 22 pt.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 numCol="2" spcCol="432000"/>
          <a:lstStyle>
            <a:lvl1pPr>
              <a:lnSpc>
                <a:spcPts val="12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 marL="144000" indent="-144000">
              <a:lnSpc>
                <a:spcPts val="1200"/>
              </a:lnSpc>
              <a:spcAft>
                <a:spcPts val="0"/>
              </a:spcAft>
              <a:buFont typeface="Calibri Light" panose="020F0302020204030204" pitchFamily="34" charset="0"/>
              <a:buChar char="‒"/>
              <a:defRPr sz="1000">
                <a:solidFill>
                  <a:schemeClr val="bg1"/>
                </a:solidFill>
              </a:defRPr>
            </a:lvl2pPr>
            <a:lvl3pPr>
              <a:lnSpc>
                <a:spcPts val="1200"/>
              </a:lnSpc>
              <a:spcAft>
                <a:spcPts val="0"/>
              </a:spcAft>
              <a:buClr>
                <a:schemeClr val="bg1"/>
              </a:buClr>
              <a:defRPr sz="1000">
                <a:solidFill>
                  <a:schemeClr val="bg1"/>
                </a:solidFill>
              </a:defRPr>
            </a:lvl3pPr>
            <a:lvl4pPr>
              <a:lnSpc>
                <a:spcPts val="1200"/>
              </a:lnSpc>
              <a:spcAft>
                <a:spcPts val="0"/>
              </a:spcAft>
              <a:buClr>
                <a:schemeClr val="bg1"/>
              </a:buClr>
              <a:defRPr sz="1000">
                <a:solidFill>
                  <a:schemeClr val="bg1"/>
                </a:solidFill>
              </a:defRPr>
            </a:lvl4pPr>
            <a:lvl5pPr>
              <a:lnSpc>
                <a:spcPts val="12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5pPr>
            <a:lvl6pPr>
              <a:lnSpc>
                <a:spcPts val="12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6pPr>
            <a:lvl7pPr>
              <a:lnSpc>
                <a:spcPts val="12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7pPr>
            <a:lvl8pPr>
              <a:lnSpc>
                <a:spcPts val="12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8pPr>
            <a:lvl9pPr>
              <a:lnSpc>
                <a:spcPts val="12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Calibri Light 10 pt. (Bullets: Home / Paragraph / Increase List Level)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7" name="Rechteck 6"/>
          <p:cNvSpPr/>
          <p:nvPr userDrawn="1"/>
        </p:nvSpPr>
        <p:spPr>
          <a:xfrm>
            <a:off x="287523" y="572400"/>
            <a:ext cx="144000" cy="144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45318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DDB53AA4-9AB0-45BC-ABBF-D2CC8540CDFC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1"/>
            <a:ext cx="10080000" cy="5652000"/>
          </a:xfrm>
          <a:custGeom>
            <a:avLst/>
            <a:gdLst>
              <a:gd name="connsiteX0" fmla="*/ 0 w 10080000"/>
              <a:gd name="connsiteY0" fmla="*/ 0 h 5652000"/>
              <a:gd name="connsiteX1" fmla="*/ 10080000 w 10080000"/>
              <a:gd name="connsiteY1" fmla="*/ 0 h 5652000"/>
              <a:gd name="connsiteX2" fmla="*/ 10080000 w 10080000"/>
              <a:gd name="connsiteY2" fmla="*/ 209249 h 5652000"/>
              <a:gd name="connsiteX3" fmla="*/ 7749093 w 10080000"/>
              <a:gd name="connsiteY3" fmla="*/ 209249 h 5652000"/>
              <a:gd name="connsiteX4" fmla="*/ 7749093 w 10080000"/>
              <a:gd name="connsiteY4" fmla="*/ 751840 h 5652000"/>
              <a:gd name="connsiteX5" fmla="*/ 10080000 w 10080000"/>
              <a:gd name="connsiteY5" fmla="*/ 751840 h 5652000"/>
              <a:gd name="connsiteX6" fmla="*/ 10080000 w 10080000"/>
              <a:gd name="connsiteY6" fmla="*/ 5652000 h 5652000"/>
              <a:gd name="connsiteX7" fmla="*/ 0 w 10080000"/>
              <a:gd name="connsiteY7" fmla="*/ 5652000 h 565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000" h="5652000">
                <a:moveTo>
                  <a:pt x="0" y="0"/>
                </a:moveTo>
                <a:lnTo>
                  <a:pt x="10080000" y="0"/>
                </a:lnTo>
                <a:lnTo>
                  <a:pt x="10080000" y="209249"/>
                </a:lnTo>
                <a:lnTo>
                  <a:pt x="7749093" y="209249"/>
                </a:lnTo>
                <a:lnTo>
                  <a:pt x="7749093" y="751840"/>
                </a:lnTo>
                <a:lnTo>
                  <a:pt x="10080000" y="751840"/>
                </a:lnTo>
                <a:lnTo>
                  <a:pt x="10080000" y="5652000"/>
                </a:lnTo>
                <a:lnTo>
                  <a:pt x="0" y="5652000"/>
                </a:lnTo>
                <a:close/>
              </a:path>
            </a:pathLst>
          </a:custGeom>
          <a:noFill/>
        </p:spPr>
        <p:txBody>
          <a:bodyPr wrap="square" lIns="180000" tIns="180000">
            <a:noAutofit/>
          </a:bodyPr>
          <a:lstStyle/>
          <a:p>
            <a:r>
              <a:rPr lang="en-US" noProof="0" dirty="0"/>
              <a:t>Insert background image</a:t>
            </a:r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73491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F4C4553-8A9D-4C1B-AD40-A6E04575021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0" y="1260001"/>
            <a:ext cx="4824000" cy="404809"/>
          </a:xfrm>
          <a:solidFill>
            <a:schemeClr val="tx2">
              <a:alpha val="80000"/>
            </a:schemeClr>
          </a:solidFill>
        </p:spPr>
        <p:txBody>
          <a:bodyPr lIns="360000" tIns="144000" rIns="360000" bIns="144000" anchor="t" anchorCtr="0"/>
          <a:lstStyle>
            <a:lvl1pPr>
              <a:defRPr sz="1993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Headline</a:t>
            </a:r>
            <a:endParaRPr lang="en-GB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8B86C445-21F2-402C-BE71-79FFF9BD3D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663200"/>
            <a:ext cx="4824000" cy="1165924"/>
          </a:xfrm>
          <a:solidFill>
            <a:schemeClr val="tx2">
              <a:alpha val="80000"/>
            </a:schemeClr>
          </a:solidFill>
        </p:spPr>
        <p:txBody>
          <a:bodyPr lIns="360000" tIns="144000" rIns="360000" bIns="144000">
            <a:spAutoFit/>
          </a:bodyPr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  <a:lvl2pPr>
              <a:lnSpc>
                <a:spcPct val="90000"/>
              </a:lnSpc>
              <a:defRPr>
                <a:solidFill>
                  <a:schemeClr val="bg1"/>
                </a:solidFill>
              </a:defRPr>
            </a:lvl2pPr>
            <a:lvl3pPr>
              <a:lnSpc>
                <a:spcPct val="90000"/>
              </a:lnSpc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</a:lstStyle>
          <a:p>
            <a:pPr marL="0" marR="0" lvl="0" indent="0" algn="l" defTabSz="751045" rtl="0" eaLnBrk="1" fontAlgn="auto" latinLnBrk="0" hangingPunct="1">
              <a:lnSpc>
                <a:spcPts val="159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nsert text </a:t>
            </a:r>
            <a:r>
              <a:rPr lang="en-US" noProof="0" dirty="0"/>
              <a:t>(Bullets: Home / Paragraph / Increase List Level)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6" name="Picture 5" descr="A close up of a sign&#10;&#10;Description automatically generated">
            <a:extLst>
              <a:ext uri="{FF2B5EF4-FFF2-40B4-BE49-F238E27FC236}">
                <a16:creationId xmlns:a16="http://schemas.microsoft.com/office/drawing/2014/main" id="{AB28C8DA-CD0A-4304-A61D-EDA9911795E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9094" y="209250"/>
            <a:ext cx="2341067" cy="542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5837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-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59576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2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0080000" cy="5652000"/>
          </a:xfrm>
        </p:spPr>
        <p:txBody>
          <a:bodyPr lIns="2160000" tIns="180000"/>
          <a:lstStyle>
            <a:lvl1pPr algn="ctr">
              <a:defRPr/>
            </a:lvl1pPr>
          </a:lstStyle>
          <a:p>
            <a:r>
              <a:rPr lang="en-US" noProof="0" dirty="0"/>
              <a:t>Insert background image</a:t>
            </a:r>
          </a:p>
        </p:txBody>
      </p:sp>
      <p:sp>
        <p:nvSpPr>
          <p:cNvPr id="7" name="Bildplatzhalter 3">
            <a:extLst>
              <a:ext uri="{FF2B5EF4-FFF2-40B4-BE49-F238E27FC236}">
                <a16:creationId xmlns:a16="http://schemas.microsoft.com/office/drawing/2014/main" id="{3A798F77-0052-41FF-A30D-CB3027853D6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740000" y="180000"/>
            <a:ext cx="2340000" cy="543600"/>
          </a:xfrm>
          <a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lnSpc>
                <a:spcPts val="100"/>
              </a:lnSpc>
              <a:defRPr sz="100" baseline="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0"/>
            <a:ext cx="5040000" cy="5652000"/>
          </a:xfrm>
          <a:solidFill>
            <a:schemeClr val="tx2">
              <a:alpha val="80000"/>
            </a:schemeClr>
          </a:solidFill>
        </p:spPr>
        <p:txBody>
          <a:bodyPr lIns="576000" tIns="1530000" rIns="180000" bIns="396000">
            <a:noAutofit/>
          </a:bodyPr>
          <a:lstStyle>
            <a:lvl1pPr>
              <a:lnSpc>
                <a:spcPct val="100000"/>
              </a:lnSpc>
              <a:spcAft>
                <a:spcPts val="1000"/>
              </a:spcAft>
              <a:defRPr sz="3600" b="0">
                <a:solidFill>
                  <a:schemeClr val="bg1"/>
                </a:solidFill>
              </a:defRPr>
            </a:lvl1pPr>
            <a:lvl2pPr marL="0" indent="0">
              <a:lnSpc>
                <a:spcPts val="2200"/>
              </a:lnSpc>
              <a:buFontTx/>
              <a:buNone/>
              <a:defRPr sz="20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lnSpc>
                <a:spcPts val="2200"/>
              </a:lnSpc>
              <a:defRPr sz="22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lnSpc>
                <a:spcPts val="2200"/>
              </a:lnSpc>
              <a:defRPr sz="22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lnSpc>
                <a:spcPts val="2200"/>
              </a:lnSpc>
              <a:defRPr sz="22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 noProof="0" dirty="0"/>
              <a:t>Chapter Heading </a:t>
            </a:r>
            <a:br>
              <a:rPr lang="en-US" noProof="0" dirty="0"/>
            </a:br>
            <a:r>
              <a:rPr lang="en-US" noProof="0" dirty="0"/>
              <a:t>in Calibri Light 36 pt.</a:t>
            </a:r>
          </a:p>
          <a:p>
            <a:pPr lvl="1"/>
            <a:r>
              <a:rPr lang="en-US" noProof="0" dirty="0"/>
              <a:t>Additional text in Calibri 20 pt.</a:t>
            </a:r>
          </a:p>
        </p:txBody>
      </p:sp>
    </p:spTree>
    <p:extLst>
      <p:ext uri="{BB962C8B-B14F-4D97-AF65-F5344CB8AC3E}">
        <p14:creationId xmlns:p14="http://schemas.microsoft.com/office/powerpoint/2010/main" val="928755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-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933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Bildplatzhalter 2">
            <a:extLst>
              <a:ext uri="{FF2B5EF4-FFF2-40B4-BE49-F238E27FC236}">
                <a16:creationId xmlns:a16="http://schemas.microsoft.com/office/drawing/2014/main" id="{3D8E9093-9EAE-4C1B-98EE-D016E41F2B4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0080000" cy="5652000"/>
          </a:xfrm>
        </p:spPr>
        <p:txBody>
          <a:bodyPr lIns="180000" tIns="180000"/>
          <a:lstStyle/>
          <a:p>
            <a:r>
              <a:rPr lang="en-US" noProof="0" dirty="0"/>
              <a:t>Insert background image</a:t>
            </a:r>
          </a:p>
        </p:txBody>
      </p:sp>
      <p:sp>
        <p:nvSpPr>
          <p:cNvPr id="19" name="Bildplatzhalter 3">
            <a:extLst>
              <a:ext uri="{FF2B5EF4-FFF2-40B4-BE49-F238E27FC236}">
                <a16:creationId xmlns:a16="http://schemas.microsoft.com/office/drawing/2014/main" id="{2898FC0A-2E35-414B-89AD-76142C22D0A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740000" y="180000"/>
            <a:ext cx="2340000" cy="543600"/>
          </a:xfrm>
          <a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lnSpc>
                <a:spcPts val="100"/>
              </a:lnSpc>
              <a:defRPr sz="100" baseline="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32EFF558-5073-4030-9F75-B8C25617201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0" y="1260000"/>
            <a:ext cx="4824000" cy="2957512"/>
          </a:xfrm>
          <a:solidFill>
            <a:schemeClr val="bg1">
              <a:alpha val="80000"/>
            </a:schemeClr>
          </a:solidFill>
        </p:spPr>
        <p:txBody>
          <a:bodyPr/>
          <a:lstStyle>
            <a:lvl1pPr>
              <a:lnSpc>
                <a:spcPct val="6000"/>
              </a:lnSpc>
              <a:defRPr sz="1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Bildplatzhalter 7">
            <a:extLst>
              <a:ext uri="{FF2B5EF4-FFF2-40B4-BE49-F238E27FC236}">
                <a16:creationId xmlns:a16="http://schemas.microsoft.com/office/drawing/2014/main" id="{443C92C9-353B-4E78-AC65-569D63A5AFB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0000" y="1476949"/>
            <a:ext cx="1350000" cy="18000"/>
          </a:xfrm>
          <a:solidFill>
            <a:schemeClr val="tx2"/>
          </a:solidFill>
          <a:ln>
            <a:noFill/>
          </a:ln>
        </p:spPr>
        <p:txBody>
          <a:bodyPr anchor="ctr"/>
          <a:lstStyle>
            <a:lvl1pPr>
              <a:lnSpc>
                <a:spcPct val="6000"/>
              </a:lnSpc>
              <a:defRPr sz="10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Textplatzhalter 13">
            <a:extLst>
              <a:ext uri="{FF2B5EF4-FFF2-40B4-BE49-F238E27FC236}">
                <a16:creationId xmlns:a16="http://schemas.microsoft.com/office/drawing/2014/main" id="{0D8BCD60-9166-470F-86F5-90429464FEB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1530348"/>
            <a:ext cx="3924000" cy="432000"/>
          </a:xfrm>
        </p:spPr>
        <p:txBody>
          <a:bodyPr lIns="0" tIns="0" rIns="0" bIns="0"/>
          <a:lstStyle>
            <a:lvl1pPr>
              <a:lnSpc>
                <a:spcPts val="1800"/>
              </a:lnSpc>
              <a:defRPr b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ts val="1800"/>
              </a:lnSpc>
              <a:buFontTx/>
              <a:buNone/>
              <a:defRPr>
                <a:solidFill>
                  <a:srgbClr val="58595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 noProof="0" dirty="0"/>
              <a:t>Agenda point in Calibri 14 pt.</a:t>
            </a:r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9" name="Bildplatzhalter 7">
            <a:extLst>
              <a:ext uri="{FF2B5EF4-FFF2-40B4-BE49-F238E27FC236}">
                <a16:creationId xmlns:a16="http://schemas.microsoft.com/office/drawing/2014/main" id="{21384BCE-3202-4C63-9BB2-A7CE3933D21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40000" y="2506592"/>
            <a:ext cx="1350000" cy="18000"/>
          </a:xfrm>
          <a:solidFill>
            <a:srgbClr val="58595B"/>
          </a:solidFill>
          <a:ln>
            <a:noFill/>
          </a:ln>
        </p:spPr>
        <p:txBody>
          <a:bodyPr anchor="ctr"/>
          <a:lstStyle>
            <a:lvl1pPr>
              <a:lnSpc>
                <a:spcPct val="6000"/>
              </a:lnSpc>
              <a:defRPr sz="100">
                <a:solidFill>
                  <a:srgbClr val="58595B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Textplatzhalter 13">
            <a:extLst>
              <a:ext uri="{FF2B5EF4-FFF2-40B4-BE49-F238E27FC236}">
                <a16:creationId xmlns:a16="http://schemas.microsoft.com/office/drawing/2014/main" id="{B09BF6E7-78E7-435E-B76D-E20BAC2B3D6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40000" y="2563167"/>
            <a:ext cx="3924000" cy="432000"/>
          </a:xfrm>
        </p:spPr>
        <p:txBody>
          <a:bodyPr lIns="0" tIns="0" rIns="0" bIns="0"/>
          <a:lstStyle>
            <a:lvl1pPr>
              <a:lnSpc>
                <a:spcPts val="1800"/>
              </a:lnSpc>
              <a:defRPr b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ts val="1800"/>
              </a:lnSpc>
              <a:buFontTx/>
              <a:buNone/>
              <a:defRPr>
                <a:solidFill>
                  <a:srgbClr val="58595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 noProof="0" dirty="0"/>
              <a:t>Agenda point in Calibri 14 pt.</a:t>
            </a:r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12" name="Textplatzhalter 13">
            <a:extLst>
              <a:ext uri="{FF2B5EF4-FFF2-40B4-BE49-F238E27FC236}">
                <a16:creationId xmlns:a16="http://schemas.microsoft.com/office/drawing/2014/main" id="{7E918E8D-2691-41EE-A765-E2E189BC667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0000" y="2047713"/>
            <a:ext cx="3924000" cy="432000"/>
          </a:xfrm>
        </p:spPr>
        <p:txBody>
          <a:bodyPr lIns="0" tIns="0" rIns="0" bIns="0"/>
          <a:lstStyle>
            <a:lvl1pPr>
              <a:lnSpc>
                <a:spcPts val="1800"/>
              </a:lnSpc>
              <a:defRPr b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ts val="1800"/>
              </a:lnSpc>
              <a:buFontTx/>
              <a:buNone/>
              <a:defRPr>
                <a:solidFill>
                  <a:srgbClr val="58595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 noProof="0" dirty="0"/>
              <a:t>Agenda point in Calibri 14 pt.</a:t>
            </a:r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13" name="Bildplatzhalter 7">
            <a:extLst>
              <a:ext uri="{FF2B5EF4-FFF2-40B4-BE49-F238E27FC236}">
                <a16:creationId xmlns:a16="http://schemas.microsoft.com/office/drawing/2014/main" id="{E0636CAF-3FE9-4E4C-9579-A7F581B3A31E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40000" y="1991139"/>
            <a:ext cx="1350000" cy="18000"/>
          </a:xfrm>
          <a:solidFill>
            <a:srgbClr val="58595B"/>
          </a:solidFill>
          <a:ln>
            <a:noFill/>
          </a:ln>
        </p:spPr>
        <p:txBody>
          <a:bodyPr anchor="ctr"/>
          <a:lstStyle>
            <a:lvl1pPr>
              <a:lnSpc>
                <a:spcPct val="6000"/>
              </a:lnSpc>
              <a:defRPr sz="100">
                <a:solidFill>
                  <a:srgbClr val="58595B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4" name="Bildplatzhalter 7">
            <a:extLst>
              <a:ext uri="{FF2B5EF4-FFF2-40B4-BE49-F238E27FC236}">
                <a16:creationId xmlns:a16="http://schemas.microsoft.com/office/drawing/2014/main" id="{DDD859E0-0775-4EA4-B991-03B0FBF5CBE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40000" y="3019509"/>
            <a:ext cx="1350000" cy="21600"/>
          </a:xfrm>
          <a:solidFill>
            <a:srgbClr val="58595B"/>
          </a:solidFill>
          <a:ln>
            <a:noFill/>
          </a:ln>
        </p:spPr>
        <p:txBody>
          <a:bodyPr anchor="ctr"/>
          <a:lstStyle>
            <a:lvl1pPr>
              <a:lnSpc>
                <a:spcPct val="6000"/>
              </a:lnSpc>
              <a:defRPr sz="100">
                <a:solidFill>
                  <a:srgbClr val="58595B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5" name="Bildplatzhalter 7">
            <a:extLst>
              <a:ext uri="{FF2B5EF4-FFF2-40B4-BE49-F238E27FC236}">
                <a16:creationId xmlns:a16="http://schemas.microsoft.com/office/drawing/2014/main" id="{D0D7EA7F-4D98-415E-89DB-FB19279047F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40000" y="3531895"/>
            <a:ext cx="1350000" cy="18000"/>
          </a:xfrm>
          <a:solidFill>
            <a:srgbClr val="58595B"/>
          </a:solidFill>
          <a:ln>
            <a:noFill/>
          </a:ln>
        </p:spPr>
        <p:txBody>
          <a:bodyPr anchor="ctr"/>
          <a:lstStyle>
            <a:lvl1pPr>
              <a:lnSpc>
                <a:spcPct val="6000"/>
              </a:lnSpc>
              <a:defRPr sz="100">
                <a:solidFill>
                  <a:srgbClr val="58595B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Textplatzhalter 13">
            <a:extLst>
              <a:ext uri="{FF2B5EF4-FFF2-40B4-BE49-F238E27FC236}">
                <a16:creationId xmlns:a16="http://schemas.microsoft.com/office/drawing/2014/main" id="{1F895391-FCEA-4FBE-953D-0229968BB65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40000" y="3077671"/>
            <a:ext cx="3924000" cy="432000"/>
          </a:xfrm>
        </p:spPr>
        <p:txBody>
          <a:bodyPr lIns="0" tIns="0" rIns="0" bIns="0"/>
          <a:lstStyle>
            <a:lvl1pPr>
              <a:lnSpc>
                <a:spcPts val="1800"/>
              </a:lnSpc>
              <a:defRPr b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ts val="1800"/>
              </a:lnSpc>
              <a:buFontTx/>
              <a:buNone/>
              <a:defRPr>
                <a:solidFill>
                  <a:srgbClr val="58595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 noProof="0" dirty="0"/>
              <a:t>Agenda point in Calibri 14 pt.</a:t>
            </a:r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17" name="Textplatzhalter 13">
            <a:extLst>
              <a:ext uri="{FF2B5EF4-FFF2-40B4-BE49-F238E27FC236}">
                <a16:creationId xmlns:a16="http://schemas.microsoft.com/office/drawing/2014/main" id="{5A1C1A75-FD9A-4599-A1CE-2066D4091D1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0000" y="3588259"/>
            <a:ext cx="3924000" cy="432000"/>
          </a:xfrm>
        </p:spPr>
        <p:txBody>
          <a:bodyPr lIns="0" tIns="0" rIns="0" bIns="0"/>
          <a:lstStyle>
            <a:lvl1pPr>
              <a:lnSpc>
                <a:spcPts val="1800"/>
              </a:lnSpc>
              <a:defRPr b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ts val="1800"/>
              </a:lnSpc>
              <a:buFontTx/>
              <a:buNone/>
              <a:defRPr>
                <a:solidFill>
                  <a:srgbClr val="58595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 noProof="0" dirty="0"/>
              <a:t>Agenda point in Calibri 14 pt.</a:t>
            </a:r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20" name="Folie Wechsel/Zurücksetzen/Textebenen"/>
          <p:cNvSpPr txBox="1"/>
          <p:nvPr userDrawn="1"/>
        </p:nvSpPr>
        <p:spPr>
          <a:xfrm rot="10800000" flipH="1" flipV="1">
            <a:off x="-2088000" y="451069"/>
            <a:ext cx="1980000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baseline="0" noProof="0" dirty="0">
                <a:solidFill>
                  <a:schemeClr val="tx2"/>
                </a:solidFill>
                <a:latin typeface="+mn-lt"/>
              </a:rPr>
              <a:t>Reset the slide back to its 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baseline="0" noProof="0" dirty="0">
                <a:solidFill>
                  <a:schemeClr val="tx2"/>
                </a:solidFill>
                <a:latin typeface="+mn-lt"/>
              </a:rPr>
              <a:t>original form via menu bar: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baseline="0" noProof="0" dirty="0">
                <a:solidFill>
                  <a:schemeClr val="tx2"/>
                </a:solidFill>
                <a:latin typeface="+mn-lt"/>
              </a:rPr>
              <a:t>Home / Slides / Reset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000" b="0" baseline="0" noProof="0" dirty="0">
              <a:solidFill>
                <a:schemeClr val="tx2"/>
              </a:solidFill>
              <a:latin typeface="+mn-lt"/>
            </a:endParaRP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baseline="0" noProof="0" dirty="0">
                <a:solidFill>
                  <a:schemeClr val="tx2"/>
                </a:solidFill>
                <a:latin typeface="+mn-lt"/>
              </a:rPr>
              <a:t>Change the slide layout 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baseline="0" noProof="0" dirty="0">
                <a:solidFill>
                  <a:schemeClr val="tx2"/>
                </a:solidFill>
                <a:latin typeface="+mn-lt"/>
              </a:rPr>
              <a:t>via menu bar:</a:t>
            </a:r>
          </a:p>
          <a:p>
            <a:pPr marL="0" marR="0" lvl="0" indent="0" algn="r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baseline="0" noProof="0" dirty="0">
                <a:solidFill>
                  <a:schemeClr val="tx2"/>
                </a:solidFill>
                <a:latin typeface="+mn-lt"/>
              </a:rPr>
              <a:t>Home / Slides / Layout</a:t>
            </a:r>
          </a:p>
          <a:p>
            <a:pPr marL="0" marR="0" lvl="0" indent="0" algn="r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b="0" baseline="0" noProof="0" dirty="0">
              <a:solidFill>
                <a:schemeClr val="tx2"/>
              </a:solidFill>
              <a:latin typeface="+mn-lt"/>
            </a:endParaRPr>
          </a:p>
          <a:p>
            <a:pPr marL="0" marR="0" lvl="0" indent="0" algn="r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baseline="0" noProof="0" dirty="0">
                <a:solidFill>
                  <a:schemeClr val="tx2"/>
                </a:solidFill>
                <a:latin typeface="+mn-lt"/>
              </a:rPr>
              <a:t>Change the text level</a:t>
            </a:r>
          </a:p>
          <a:p>
            <a:pPr marL="0" marR="0" lvl="0" indent="0" algn="r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baseline="0" noProof="0" dirty="0">
                <a:solidFill>
                  <a:schemeClr val="tx2"/>
                </a:solidFill>
                <a:latin typeface="+mn-lt"/>
              </a:rPr>
              <a:t>via menu bar: </a:t>
            </a:r>
            <a:br>
              <a:rPr lang="en-US" sz="1000" b="0" baseline="0" noProof="0" dirty="0">
                <a:solidFill>
                  <a:schemeClr val="tx2"/>
                </a:solidFill>
                <a:latin typeface="+mn-lt"/>
              </a:rPr>
            </a:br>
            <a:r>
              <a:rPr lang="en-US" sz="1000" b="0" baseline="0" noProof="0" dirty="0">
                <a:solidFill>
                  <a:schemeClr val="tx2"/>
                </a:solidFill>
                <a:latin typeface="+mn-lt"/>
              </a:rPr>
              <a:t>Home / Paragraph / Increase/</a:t>
            </a:r>
          </a:p>
          <a:p>
            <a:pPr marL="0" marR="0" lvl="0" indent="0" algn="r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baseline="0" noProof="0" dirty="0">
                <a:solidFill>
                  <a:schemeClr val="tx2"/>
                </a:solidFill>
                <a:latin typeface="+mn-lt"/>
              </a:rPr>
              <a:t>Decrease List Level</a:t>
            </a:r>
          </a:p>
        </p:txBody>
      </p:sp>
      <p:sp>
        <p:nvSpPr>
          <p:cNvPr id="21" name="Text // Listenebene erhöhen"/>
          <p:cNvSpPr txBox="1"/>
          <p:nvPr userDrawn="1"/>
        </p:nvSpPr>
        <p:spPr>
          <a:xfrm>
            <a:off x="-1548000" y="2455037"/>
            <a:ext cx="720000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baseline="0" noProof="0" dirty="0">
                <a:solidFill>
                  <a:schemeClr val="tx2"/>
                </a:solidFill>
                <a:latin typeface="+mn-lt"/>
              </a:rPr>
              <a:t>Increase</a:t>
            </a:r>
          </a:p>
          <a:p>
            <a:pPr marL="0" marR="0" lvl="0" indent="0" algn="r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baseline="0" noProof="0" dirty="0">
                <a:solidFill>
                  <a:schemeClr val="tx2"/>
                </a:solidFill>
                <a:latin typeface="+mn-lt"/>
              </a:rPr>
              <a:t>List Level</a:t>
            </a:r>
          </a:p>
        </p:txBody>
      </p:sp>
      <p:sp>
        <p:nvSpPr>
          <p:cNvPr id="22" name="Text // Listenebene verringern"/>
          <p:cNvSpPr txBox="1"/>
          <p:nvPr userDrawn="1"/>
        </p:nvSpPr>
        <p:spPr>
          <a:xfrm>
            <a:off x="-1548000" y="2923037"/>
            <a:ext cx="720000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baseline="0" noProof="0" dirty="0">
                <a:solidFill>
                  <a:schemeClr val="tx2"/>
                </a:solidFill>
                <a:latin typeface="+mn-lt"/>
              </a:rPr>
              <a:t>Decrease </a:t>
            </a:r>
          </a:p>
          <a:p>
            <a:pPr marL="0" marR="0" lvl="0" indent="0" algn="r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baseline="0" noProof="0" dirty="0">
                <a:solidFill>
                  <a:schemeClr val="tx2"/>
                </a:solidFill>
                <a:latin typeface="+mn-lt"/>
              </a:rPr>
              <a:t>List Level</a:t>
            </a:r>
          </a:p>
        </p:txBody>
      </p:sp>
      <p:pic>
        <p:nvPicPr>
          <p:cNvPr id="23" name="Grafik 22"/>
          <p:cNvPicPr>
            <a:picLocks noChangeAspect="1"/>
          </p:cNvPicPr>
          <p:nvPr userDrawn="1"/>
        </p:nvPicPr>
        <p:blipFill rotWithShape="1">
          <a:blip r:embed="rId6"/>
          <a:srcRect l="33585" t="5030" r="63860" b="91764"/>
          <a:stretch/>
        </p:blipFill>
        <p:spPr>
          <a:xfrm>
            <a:off x="-745200" y="2389005"/>
            <a:ext cx="612000" cy="432000"/>
          </a:xfrm>
          <a:prstGeom prst="rect">
            <a:avLst/>
          </a:prstGeom>
        </p:spPr>
      </p:pic>
      <p:pic>
        <p:nvPicPr>
          <p:cNvPr id="24" name="Grafik 23"/>
          <p:cNvPicPr>
            <a:picLocks noChangeAspect="1"/>
          </p:cNvPicPr>
          <p:nvPr userDrawn="1"/>
        </p:nvPicPr>
        <p:blipFill rotWithShape="1">
          <a:blip r:embed="rId7"/>
          <a:srcRect l="33573" t="4997" r="63872" b="91798"/>
          <a:stretch/>
        </p:blipFill>
        <p:spPr>
          <a:xfrm>
            <a:off x="-745200" y="2869037"/>
            <a:ext cx="612000" cy="432000"/>
          </a:xfrm>
          <a:prstGeom prst="rect">
            <a:avLst/>
          </a:prstGeom>
        </p:spPr>
      </p:pic>
      <p:sp>
        <p:nvSpPr>
          <p:cNvPr id="25" name="Grafik 4" descr="Informationen">
            <a:extLst>
              <a:ext uri="{FF2B5EF4-FFF2-40B4-BE49-F238E27FC236}">
                <a16:creationId xmlns:a16="http://schemas.microsoft.com/office/drawing/2014/main" id="{9673F196-E2D3-45D9-99C2-3AD5A2EAB075}"/>
              </a:ext>
            </a:extLst>
          </p:cNvPr>
          <p:cNvSpPr>
            <a:spLocks noChangeAspect="1"/>
          </p:cNvSpPr>
          <p:nvPr userDrawn="1"/>
        </p:nvSpPr>
        <p:spPr>
          <a:xfrm>
            <a:off x="-463159" y="-2293"/>
            <a:ext cx="360000" cy="360000"/>
          </a:xfrm>
          <a:custGeom>
            <a:avLst/>
            <a:gdLst>
              <a:gd name="connsiteX0" fmla="*/ 361950 w 723900"/>
              <a:gd name="connsiteY0" fmla="*/ 0 h 723900"/>
              <a:gd name="connsiteX1" fmla="*/ 0 w 723900"/>
              <a:gd name="connsiteY1" fmla="*/ 361950 h 723900"/>
              <a:gd name="connsiteX2" fmla="*/ 361950 w 723900"/>
              <a:gd name="connsiteY2" fmla="*/ 723900 h 723900"/>
              <a:gd name="connsiteX3" fmla="*/ 723900 w 723900"/>
              <a:gd name="connsiteY3" fmla="*/ 361950 h 723900"/>
              <a:gd name="connsiteX4" fmla="*/ 361950 w 723900"/>
              <a:gd name="connsiteY4" fmla="*/ 0 h 723900"/>
              <a:gd name="connsiteX5" fmla="*/ 342900 w 723900"/>
              <a:gd name="connsiteY5" fmla="*/ 95250 h 723900"/>
              <a:gd name="connsiteX6" fmla="*/ 390525 w 723900"/>
              <a:gd name="connsiteY6" fmla="*/ 142875 h 723900"/>
              <a:gd name="connsiteX7" fmla="*/ 342900 w 723900"/>
              <a:gd name="connsiteY7" fmla="*/ 190500 h 723900"/>
              <a:gd name="connsiteX8" fmla="*/ 295275 w 723900"/>
              <a:gd name="connsiteY8" fmla="*/ 142875 h 723900"/>
              <a:gd name="connsiteX9" fmla="*/ 342900 w 723900"/>
              <a:gd name="connsiteY9" fmla="*/ 95250 h 723900"/>
              <a:gd name="connsiteX10" fmla="*/ 457200 w 723900"/>
              <a:gd name="connsiteY10" fmla="*/ 628650 h 723900"/>
              <a:gd name="connsiteX11" fmla="*/ 266700 w 723900"/>
              <a:gd name="connsiteY11" fmla="*/ 628650 h 723900"/>
              <a:gd name="connsiteX12" fmla="*/ 266700 w 723900"/>
              <a:gd name="connsiteY12" fmla="*/ 571500 h 723900"/>
              <a:gd name="connsiteX13" fmla="*/ 333375 w 723900"/>
              <a:gd name="connsiteY13" fmla="*/ 571500 h 723900"/>
              <a:gd name="connsiteX14" fmla="*/ 333375 w 723900"/>
              <a:gd name="connsiteY14" fmla="*/ 285750 h 723900"/>
              <a:gd name="connsiteX15" fmla="*/ 276225 w 723900"/>
              <a:gd name="connsiteY15" fmla="*/ 285750 h 723900"/>
              <a:gd name="connsiteX16" fmla="*/ 276225 w 723900"/>
              <a:gd name="connsiteY16" fmla="*/ 228600 h 723900"/>
              <a:gd name="connsiteX17" fmla="*/ 390525 w 723900"/>
              <a:gd name="connsiteY17" fmla="*/ 228600 h 723900"/>
              <a:gd name="connsiteX18" fmla="*/ 390525 w 723900"/>
              <a:gd name="connsiteY18" fmla="*/ 285750 h 723900"/>
              <a:gd name="connsiteX19" fmla="*/ 390525 w 723900"/>
              <a:gd name="connsiteY19" fmla="*/ 571500 h 723900"/>
              <a:gd name="connsiteX20" fmla="*/ 457200 w 723900"/>
              <a:gd name="connsiteY20" fmla="*/ 571500 h 723900"/>
              <a:gd name="connsiteX21" fmla="*/ 457200 w 723900"/>
              <a:gd name="connsiteY21" fmla="*/ 628650 h 723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723900" h="723900">
                <a:moveTo>
                  <a:pt x="361950" y="0"/>
                </a:moveTo>
                <a:cubicBezTo>
                  <a:pt x="161925" y="0"/>
                  <a:pt x="0" y="161925"/>
                  <a:pt x="0" y="361950"/>
                </a:cubicBezTo>
                <a:cubicBezTo>
                  <a:pt x="0" y="561975"/>
                  <a:pt x="161925" y="723900"/>
                  <a:pt x="361950" y="723900"/>
                </a:cubicBezTo>
                <a:cubicBezTo>
                  <a:pt x="561975" y="723900"/>
                  <a:pt x="723900" y="561975"/>
                  <a:pt x="723900" y="361950"/>
                </a:cubicBezTo>
                <a:cubicBezTo>
                  <a:pt x="723900" y="161925"/>
                  <a:pt x="561975" y="0"/>
                  <a:pt x="361950" y="0"/>
                </a:cubicBezTo>
                <a:close/>
                <a:moveTo>
                  <a:pt x="342900" y="95250"/>
                </a:moveTo>
                <a:cubicBezTo>
                  <a:pt x="369570" y="95250"/>
                  <a:pt x="390525" y="116205"/>
                  <a:pt x="390525" y="142875"/>
                </a:cubicBezTo>
                <a:cubicBezTo>
                  <a:pt x="390525" y="169545"/>
                  <a:pt x="369570" y="190500"/>
                  <a:pt x="342900" y="190500"/>
                </a:cubicBezTo>
                <a:cubicBezTo>
                  <a:pt x="316230" y="190500"/>
                  <a:pt x="295275" y="169545"/>
                  <a:pt x="295275" y="142875"/>
                </a:cubicBezTo>
                <a:cubicBezTo>
                  <a:pt x="295275" y="116205"/>
                  <a:pt x="316230" y="95250"/>
                  <a:pt x="342900" y="95250"/>
                </a:cubicBezTo>
                <a:close/>
                <a:moveTo>
                  <a:pt x="457200" y="628650"/>
                </a:moveTo>
                <a:lnTo>
                  <a:pt x="266700" y="628650"/>
                </a:lnTo>
                <a:lnTo>
                  <a:pt x="266700" y="571500"/>
                </a:lnTo>
                <a:lnTo>
                  <a:pt x="333375" y="571500"/>
                </a:lnTo>
                <a:lnTo>
                  <a:pt x="333375" y="285750"/>
                </a:lnTo>
                <a:lnTo>
                  <a:pt x="276225" y="285750"/>
                </a:lnTo>
                <a:lnTo>
                  <a:pt x="276225" y="228600"/>
                </a:lnTo>
                <a:lnTo>
                  <a:pt x="390525" y="228600"/>
                </a:lnTo>
                <a:lnTo>
                  <a:pt x="390525" y="285750"/>
                </a:lnTo>
                <a:lnTo>
                  <a:pt x="390525" y="571500"/>
                </a:lnTo>
                <a:lnTo>
                  <a:pt x="457200" y="571500"/>
                </a:lnTo>
                <a:lnTo>
                  <a:pt x="457200" y="62865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/>
            <a:endParaRPr lang="en-US" dirty="0"/>
          </a:p>
        </p:txBody>
      </p:sp>
      <p:pic>
        <p:nvPicPr>
          <p:cNvPr id="26" name="Grafik 25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-1629694" y="3607667"/>
            <a:ext cx="1603387" cy="957155"/>
          </a:xfrm>
          <a:prstGeom prst="rect">
            <a:avLst/>
          </a:prstGeom>
        </p:spPr>
      </p:pic>
      <p:sp>
        <p:nvSpPr>
          <p:cNvPr id="27" name="Text // Listenebene erhöhen"/>
          <p:cNvSpPr txBox="1"/>
          <p:nvPr userDrawn="1"/>
        </p:nvSpPr>
        <p:spPr>
          <a:xfrm>
            <a:off x="-2088000" y="3415563"/>
            <a:ext cx="1980000" cy="162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baseline="0" noProof="0" dirty="0">
                <a:solidFill>
                  <a:schemeClr val="tx2"/>
                </a:solidFill>
                <a:latin typeface="+mn-lt"/>
              </a:rPr>
              <a:t>Use the Theme Colors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458ECA1E-0710-45DB-891E-D72830A6EE9C}"/>
              </a:ext>
            </a:extLst>
          </p:cNvPr>
          <p:cNvSpPr txBox="1"/>
          <p:nvPr userDrawn="1"/>
        </p:nvSpPr>
        <p:spPr>
          <a:xfrm>
            <a:off x="-2088000" y="4734000"/>
            <a:ext cx="1980000" cy="72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US" sz="1000" b="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Find a choice of background </a:t>
            </a:r>
          </a:p>
          <a:p>
            <a:pPr algn="r"/>
            <a:r>
              <a:rPr lang="en-US" sz="1000" b="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pictures on Unite</a:t>
            </a:r>
          </a:p>
          <a:p>
            <a:pPr algn="r"/>
            <a:r>
              <a:rPr lang="en-US" sz="1000" b="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hlinkClick r:id="rId9" action="ppaction://hlinkfile"/>
              </a:rPr>
              <a:t>unite.grouphc.net/</a:t>
            </a:r>
            <a:r>
              <a:rPr lang="en-US" sz="1000" b="0" kern="1200" baseline="0" dirty="0" err="1">
                <a:solidFill>
                  <a:schemeClr val="tx2"/>
                </a:solidFill>
                <a:latin typeface="+mn-lt"/>
                <a:ea typeface="+mn-ea"/>
                <a:cs typeface="+mn-cs"/>
                <a:hlinkClick r:id="rId9" action="ppaction://hlinkfile"/>
              </a:rPr>
              <a:t>gcomm</a:t>
            </a:r>
            <a:r>
              <a:rPr lang="en-US" sz="1000" b="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hlinkClick r:id="rId9" action="ppaction://hlinkfile"/>
              </a:rPr>
              <a:t>/Pages/CorporateDesign_en-US.aspx</a:t>
            </a:r>
            <a:endParaRPr lang="en-US" sz="1000" b="0" kern="1200" baseline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8" name="Grafik 10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2000" y="5364000"/>
            <a:ext cx="1261875" cy="94488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9108460" y="4861089"/>
            <a:ext cx="681703" cy="405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8792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5339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2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999" y="429949"/>
            <a:ext cx="9252000" cy="324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Headline in one line in Calibri 22 pt.</a:t>
            </a: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2000" y="5364000"/>
            <a:ext cx="1261875" cy="94488"/>
          </a:xfrm>
          <a:prstGeom prst="rect">
            <a:avLst/>
          </a:prstGeom>
        </p:spPr>
      </p:pic>
      <p:sp>
        <p:nvSpPr>
          <p:cNvPr id="9" name="Textplatzhalter 12">
            <a:extLst>
              <a:ext uri="{FF2B5EF4-FFF2-40B4-BE49-F238E27FC236}">
                <a16:creationId xmlns:a16="http://schemas.microsoft.com/office/drawing/2014/main" id="{AB30D31E-003F-438D-AE94-AB2787B544B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8163" y="228457"/>
            <a:ext cx="9252000" cy="180000"/>
          </a:xfrm>
          <a:noFill/>
        </p:spPr>
        <p:txBody>
          <a:bodyPr wrap="none"/>
          <a:lstStyle>
            <a:lvl1pPr algn="ctr">
              <a:lnSpc>
                <a:spcPts val="1400"/>
              </a:lnSpc>
              <a:spcAft>
                <a:spcPts val="0"/>
              </a:spcAft>
              <a:buFontTx/>
              <a:buNone/>
              <a:defRPr sz="1100" b="0" cap="all" spc="300" baseline="0">
                <a:solidFill>
                  <a:schemeClr val="tx2"/>
                </a:solidFill>
                <a:latin typeface="+mn-lt"/>
              </a:defRPr>
            </a:lvl1pPr>
            <a:lvl2pPr>
              <a:lnSpc>
                <a:spcPts val="1400"/>
              </a:lnSpc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  <a:latin typeface="+mn-lt"/>
                <a:cs typeface="Calibri" panose="020F0502020204030204" pitchFamily="34" charset="0"/>
              </a:defRPr>
            </a:lvl2pPr>
            <a:lvl3pPr marL="0" indent="0">
              <a:lnSpc>
                <a:spcPts val="1400"/>
              </a:lnSpc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  <a:latin typeface="+mn-lt"/>
                <a:cs typeface="Calibri" panose="020F0502020204030204" pitchFamily="34" charset="0"/>
              </a:defRPr>
            </a:lvl3pPr>
            <a:lvl4pPr marL="0" indent="0">
              <a:lnSpc>
                <a:spcPts val="1400"/>
              </a:lnSpc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  <a:latin typeface="+mn-lt"/>
                <a:cs typeface="Calibri" panose="020F0502020204030204" pitchFamily="34" charset="0"/>
              </a:defRPr>
            </a:lvl4pPr>
            <a:lvl5pPr marL="0" indent="0">
              <a:lnSpc>
                <a:spcPts val="1400"/>
              </a:lnSpc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  <a:latin typeface="+mn-lt"/>
                <a:cs typeface="Calibri" panose="020F0502020204030204" pitchFamily="34" charset="0"/>
              </a:defRPr>
            </a:lvl5pPr>
            <a:lvl6pPr marL="0" indent="0">
              <a:lnSpc>
                <a:spcPts val="14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ts val="14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ts val="14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  <a:latin typeface="+mn-lt"/>
              </a:defRPr>
            </a:lvl8pPr>
            <a:lvl9pPr marL="0" indent="0">
              <a:lnSpc>
                <a:spcPts val="14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Optional chapter heading in Calibri Light 11 pt.</a:t>
            </a: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B163204F-AD5F-4B40-8732-6F9984FCA5E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38163" y="1713599"/>
            <a:ext cx="9252000" cy="3326387"/>
          </a:xfrm>
          <a:noFill/>
        </p:spPr>
        <p:txBody>
          <a:bodyPr/>
          <a:lstStyle>
            <a:lvl1pPr>
              <a:spcAft>
                <a:spcPts val="0"/>
              </a:spcAft>
              <a:defRPr b="0">
                <a:latin typeface="+mn-lt"/>
                <a:cs typeface="Calibri" panose="020F0502020204030204" pitchFamily="34" charset="0"/>
              </a:defRPr>
            </a:lvl1pPr>
            <a:lvl2pPr marL="144000" indent="-144000">
              <a:buFont typeface="Calibri Light" panose="020F0302020204030204" pitchFamily="34" charset="0"/>
              <a:buChar char="‒"/>
              <a:defRPr/>
            </a:lvl2pPr>
            <a:lvl3pPr marL="288000">
              <a:defRPr/>
            </a:lvl3pPr>
            <a:lvl4pPr marL="432000">
              <a:defRPr/>
            </a:lvl4pPr>
            <a:lvl5pPr marL="576000">
              <a:defRPr/>
            </a:lvl5pPr>
          </a:lstStyle>
          <a:p>
            <a:pPr lvl="0"/>
            <a:r>
              <a:rPr lang="en-US" noProof="0" dirty="0"/>
              <a:t>Insert text in Calibri Light 14 pt. (Bullets: Home / Paragraph / Increase List Level)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35E4799-6D5E-4580-A0C0-1B59C1734AE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40000" y="1306800"/>
            <a:ext cx="9252000" cy="180000"/>
          </a:xfrm>
        </p:spPr>
        <p:txBody>
          <a:bodyPr wrap="square"/>
          <a:lstStyle>
            <a:lvl1pPr>
              <a:defRPr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spcAft>
                <a:spcPts val="0"/>
              </a:spcAft>
              <a:buNone/>
              <a:defRPr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0" indent="0">
              <a:spcAft>
                <a:spcPts val="0"/>
              </a:spcAft>
              <a:buNone/>
              <a:defRPr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0" indent="0">
              <a:spcAft>
                <a:spcPts val="0"/>
              </a:spcAft>
              <a:buNone/>
              <a:defRPr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0" indent="0">
              <a:lnSpc>
                <a:spcPts val="1600"/>
              </a:lnSpc>
              <a:spcBef>
                <a:spcPts val="0"/>
              </a:spcBef>
              <a:buFontTx/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6pPr>
            <a:lvl7pPr marL="0" indent="0">
              <a:lnSpc>
                <a:spcPts val="1600"/>
              </a:lnSpc>
              <a:spcBef>
                <a:spcPts val="0"/>
              </a:spcBef>
              <a:buFontTx/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7pPr>
            <a:lvl8pPr marL="0" indent="0">
              <a:lnSpc>
                <a:spcPts val="1600"/>
              </a:lnSpc>
              <a:spcBef>
                <a:spcPts val="0"/>
              </a:spcBef>
              <a:buFontTx/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8pPr>
            <a:lvl9pPr marL="0" indent="0">
              <a:lnSpc>
                <a:spcPts val="1600"/>
              </a:lnSpc>
              <a:spcBef>
                <a:spcPts val="0"/>
              </a:spcBef>
              <a:buFontTx/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9pPr>
          </a:lstStyle>
          <a:p>
            <a:pPr lvl="0"/>
            <a:r>
              <a:rPr lang="en-US" noProof="0" dirty="0"/>
              <a:t>Subheadline in Calibri 14 pt.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ACFB2DC9-714A-41AE-95CF-C3B17549B466}"/>
              </a:ext>
            </a:extLst>
          </p:cNvPr>
          <p:cNvSpPr/>
          <p:nvPr userDrawn="1"/>
        </p:nvSpPr>
        <p:spPr>
          <a:xfrm>
            <a:off x="4665600" y="828000"/>
            <a:ext cx="1008000" cy="2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noProof="0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108460" y="4861089"/>
            <a:ext cx="681703" cy="405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1478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1184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2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2000" y="5364000"/>
            <a:ext cx="1261875" cy="94488"/>
          </a:xfrm>
          <a:prstGeom prst="rect">
            <a:avLst/>
          </a:prstGeom>
        </p:spPr>
      </p:pic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540000" y="1260000"/>
            <a:ext cx="9252000" cy="3780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dirty="0"/>
              <a:t>Insert image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709200" y="3056400"/>
            <a:ext cx="4510800" cy="701181"/>
          </a:xfrm>
          <a:solidFill>
            <a:schemeClr val="tx2">
              <a:alpha val="80000"/>
            </a:schemeClr>
          </a:solidFill>
        </p:spPr>
        <p:txBody>
          <a:bodyPr lIns="144000" tIns="144000" rIns="144000" bIns="144000">
            <a:spAutoFit/>
          </a:bodyPr>
          <a:lstStyle>
            <a:lvl1pPr>
              <a:lnSpc>
                <a:spcPts val="1600"/>
              </a:lnSpc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lnSpc>
                <a:spcPts val="1600"/>
              </a:lnSpc>
              <a:buFontTx/>
              <a:buNone/>
              <a:defRPr sz="1400">
                <a:solidFill>
                  <a:schemeClr val="bg1"/>
                </a:solidFill>
                <a:latin typeface="+mn-lt"/>
                <a:cs typeface="Calibri" panose="020F0502020204030204" pitchFamily="34" charset="0"/>
              </a:defRPr>
            </a:lvl2pPr>
            <a:lvl3pPr>
              <a:lnSpc>
                <a:spcPts val="2200"/>
              </a:lnSpc>
              <a:defRPr sz="22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lnSpc>
                <a:spcPts val="2200"/>
              </a:lnSpc>
              <a:defRPr sz="22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lnSpc>
                <a:spcPts val="2200"/>
              </a:lnSpc>
              <a:defRPr sz="22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 noProof="0" dirty="0"/>
              <a:t>Subheadline in Calibri bold 14 pt.</a:t>
            </a:r>
          </a:p>
          <a:p>
            <a:pPr lvl="1"/>
            <a:r>
              <a:rPr lang="en-US" noProof="0" dirty="0"/>
              <a:t>Insert text in Calibri Light 14 pt. </a:t>
            </a:r>
          </a:p>
        </p:txBody>
      </p:sp>
      <p:sp>
        <p:nvSpPr>
          <p:cNvPr id="18" name="Textplatzhalter 12">
            <a:extLst>
              <a:ext uri="{FF2B5EF4-FFF2-40B4-BE49-F238E27FC236}">
                <a16:creationId xmlns:a16="http://schemas.microsoft.com/office/drawing/2014/main" id="{AB30D31E-003F-438D-AE94-AB2787B544B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8163" y="228457"/>
            <a:ext cx="9252000" cy="180000"/>
          </a:xfrm>
          <a:noFill/>
        </p:spPr>
        <p:txBody>
          <a:bodyPr wrap="none"/>
          <a:lstStyle>
            <a:lvl1pPr algn="ctr">
              <a:lnSpc>
                <a:spcPts val="1400"/>
              </a:lnSpc>
              <a:spcAft>
                <a:spcPts val="0"/>
              </a:spcAft>
              <a:buFontTx/>
              <a:buNone/>
              <a:defRPr sz="1100" b="0" cap="all" spc="300" baseline="0">
                <a:solidFill>
                  <a:schemeClr val="tx2"/>
                </a:solidFill>
                <a:latin typeface="+mn-lt"/>
              </a:defRPr>
            </a:lvl1pPr>
            <a:lvl2pPr>
              <a:lnSpc>
                <a:spcPts val="1400"/>
              </a:lnSpc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  <a:latin typeface="+mn-lt"/>
                <a:cs typeface="Calibri" panose="020F0502020204030204" pitchFamily="34" charset="0"/>
              </a:defRPr>
            </a:lvl2pPr>
            <a:lvl3pPr marL="0" indent="0">
              <a:lnSpc>
                <a:spcPts val="1400"/>
              </a:lnSpc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  <a:latin typeface="+mn-lt"/>
                <a:cs typeface="Calibri" panose="020F0502020204030204" pitchFamily="34" charset="0"/>
              </a:defRPr>
            </a:lvl3pPr>
            <a:lvl4pPr marL="0" indent="0">
              <a:lnSpc>
                <a:spcPts val="1400"/>
              </a:lnSpc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  <a:latin typeface="+mn-lt"/>
                <a:cs typeface="Calibri" panose="020F0502020204030204" pitchFamily="34" charset="0"/>
              </a:defRPr>
            </a:lvl4pPr>
            <a:lvl5pPr marL="0" indent="0">
              <a:lnSpc>
                <a:spcPts val="1400"/>
              </a:lnSpc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  <a:latin typeface="+mn-lt"/>
                <a:cs typeface="Calibri" panose="020F0502020204030204" pitchFamily="34" charset="0"/>
              </a:defRPr>
            </a:lvl5pPr>
            <a:lvl6pPr marL="0" indent="0">
              <a:lnSpc>
                <a:spcPts val="14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ts val="14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ts val="14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  <a:latin typeface="+mn-lt"/>
              </a:defRPr>
            </a:lvl8pPr>
            <a:lvl9pPr marL="0" indent="0">
              <a:lnSpc>
                <a:spcPts val="14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Optional chapter heading in Calibri Light 11 pt.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539999" y="429949"/>
            <a:ext cx="9252000" cy="324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Headline in one line in Calibri 22 pt.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A1FD5770-921A-4B0F-BEF6-9A1FA8AB044F}"/>
              </a:ext>
            </a:extLst>
          </p:cNvPr>
          <p:cNvSpPr/>
          <p:nvPr userDrawn="1"/>
        </p:nvSpPr>
        <p:spPr>
          <a:xfrm>
            <a:off x="4665600" y="828000"/>
            <a:ext cx="1008000" cy="2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noProof="0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108460" y="4861089"/>
            <a:ext cx="681703" cy="405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7413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02360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2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9998" y="1713600"/>
            <a:ext cx="4089600" cy="3326400"/>
          </a:xfrm>
        </p:spPr>
        <p:txBody>
          <a:bodyPr/>
          <a:lstStyle>
            <a:lvl1pPr>
              <a:defRPr b="0"/>
            </a:lvl1pPr>
            <a:lvl2pPr marL="144000" indent="-144000">
              <a:buFont typeface="Symbol" panose="05050102010706020507" pitchFamily="18" charset="2"/>
              <a:buChar char="-"/>
              <a:defRPr/>
            </a:lvl2pPr>
          </a:lstStyle>
          <a:p>
            <a:pPr lvl="0"/>
            <a:r>
              <a:rPr lang="en-US" noProof="0" dirty="0"/>
              <a:t>Insert text in Calibri Light 14 pt. </a:t>
            </a:r>
            <a:br>
              <a:rPr lang="en-US" noProof="0" dirty="0"/>
            </a:br>
            <a:r>
              <a:rPr lang="en-US" noProof="0" dirty="0"/>
              <a:t>(Bullets: Home / Paragraph / Increase List Level)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2000" y="5364000"/>
            <a:ext cx="1261875" cy="94488"/>
          </a:xfrm>
          <a:prstGeom prst="rect">
            <a:avLst/>
          </a:prstGeom>
        </p:spPr>
      </p:pic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5219999" y="1260000"/>
            <a:ext cx="4572000" cy="3780000"/>
          </a:xfrm>
        </p:spPr>
        <p:txBody>
          <a:bodyPr/>
          <a:lstStyle/>
          <a:p>
            <a:r>
              <a:rPr lang="en-US" noProof="0" dirty="0"/>
              <a:t>Insert image</a:t>
            </a:r>
          </a:p>
        </p:txBody>
      </p:sp>
      <p:cxnSp>
        <p:nvCxnSpPr>
          <p:cNvPr id="15" name="Gerader Verbinder 14"/>
          <p:cNvCxnSpPr/>
          <p:nvPr userDrawn="1"/>
        </p:nvCxnSpPr>
        <p:spPr>
          <a:xfrm>
            <a:off x="538842" y="1249198"/>
            <a:ext cx="409075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5219999" y="4827277"/>
            <a:ext cx="4572000" cy="216000"/>
          </a:xfrm>
        </p:spPr>
        <p:txBody>
          <a:bodyPr lIns="198000" tIns="25200" rIns="198000" anchor="t"/>
          <a:lstStyle>
            <a:lvl1pPr marL="0" indent="0">
              <a:lnSpc>
                <a:spcPts val="1200"/>
              </a:lnSpc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n-lt"/>
                <a:cs typeface="Calibri" panose="020F0502020204030204" pitchFamily="34" charset="0"/>
              </a:defRPr>
            </a:lvl1pPr>
            <a:lvl2pPr marL="0" indent="0">
              <a:lnSpc>
                <a:spcPts val="1200"/>
              </a:lnSpc>
              <a:buNone/>
              <a:defRPr sz="10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lnSpc>
                <a:spcPts val="1200"/>
              </a:lnSpc>
              <a:buNone/>
              <a:defRPr sz="10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0" indent="0">
              <a:lnSpc>
                <a:spcPts val="1200"/>
              </a:lnSpc>
              <a:buNone/>
              <a:defRPr sz="10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0" indent="0">
              <a:lnSpc>
                <a:spcPts val="1200"/>
              </a:lnSpc>
              <a:buNone/>
              <a:defRPr sz="10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 noProof="0" dirty="0"/>
              <a:t>Insert Caption in Calibri Light 10 pt.</a:t>
            </a:r>
          </a:p>
        </p:txBody>
      </p:sp>
      <p:sp>
        <p:nvSpPr>
          <p:cNvPr id="20" name="Textplatzhalter 12">
            <a:extLst>
              <a:ext uri="{FF2B5EF4-FFF2-40B4-BE49-F238E27FC236}">
                <a16:creationId xmlns:a16="http://schemas.microsoft.com/office/drawing/2014/main" id="{AB30D31E-003F-438D-AE94-AB2787B544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8163" y="228457"/>
            <a:ext cx="9252000" cy="180000"/>
          </a:xfrm>
          <a:noFill/>
        </p:spPr>
        <p:txBody>
          <a:bodyPr wrap="none"/>
          <a:lstStyle>
            <a:lvl1pPr algn="ctr">
              <a:lnSpc>
                <a:spcPts val="1400"/>
              </a:lnSpc>
              <a:spcAft>
                <a:spcPts val="0"/>
              </a:spcAft>
              <a:buFontTx/>
              <a:buNone/>
              <a:defRPr sz="1100" b="0" cap="all" spc="300" baseline="0">
                <a:solidFill>
                  <a:schemeClr val="tx2"/>
                </a:solidFill>
                <a:latin typeface="+mn-lt"/>
              </a:defRPr>
            </a:lvl1pPr>
            <a:lvl2pPr>
              <a:lnSpc>
                <a:spcPts val="1400"/>
              </a:lnSpc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  <a:latin typeface="+mn-lt"/>
                <a:cs typeface="Calibri" panose="020F0502020204030204" pitchFamily="34" charset="0"/>
              </a:defRPr>
            </a:lvl2pPr>
            <a:lvl3pPr marL="0" indent="0">
              <a:lnSpc>
                <a:spcPts val="1400"/>
              </a:lnSpc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  <a:latin typeface="+mn-lt"/>
                <a:cs typeface="Calibri" panose="020F0502020204030204" pitchFamily="34" charset="0"/>
              </a:defRPr>
            </a:lvl3pPr>
            <a:lvl4pPr marL="0" indent="0">
              <a:lnSpc>
                <a:spcPts val="1400"/>
              </a:lnSpc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  <a:latin typeface="+mn-lt"/>
                <a:cs typeface="Calibri" panose="020F0502020204030204" pitchFamily="34" charset="0"/>
              </a:defRPr>
            </a:lvl4pPr>
            <a:lvl5pPr marL="0" indent="0">
              <a:lnSpc>
                <a:spcPts val="1400"/>
              </a:lnSpc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  <a:latin typeface="+mn-lt"/>
                <a:cs typeface="Calibri" panose="020F0502020204030204" pitchFamily="34" charset="0"/>
              </a:defRPr>
            </a:lvl5pPr>
            <a:lvl6pPr marL="0" indent="0">
              <a:lnSpc>
                <a:spcPts val="14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ts val="14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ts val="14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  <a:latin typeface="+mn-lt"/>
              </a:defRPr>
            </a:lvl8pPr>
            <a:lvl9pPr marL="0" indent="0">
              <a:lnSpc>
                <a:spcPts val="14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Optional chapter heading in Calibri Light 11 pt.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539999" y="429949"/>
            <a:ext cx="9252000" cy="324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Headline in one line in Calibri 22 pt.</a:t>
            </a:r>
          </a:p>
        </p:txBody>
      </p:sp>
      <p:sp>
        <p:nvSpPr>
          <p:cNvPr id="16" name="Textplatzhalter 14">
            <a:extLst>
              <a:ext uri="{FF2B5EF4-FFF2-40B4-BE49-F238E27FC236}">
                <a16:creationId xmlns:a16="http://schemas.microsoft.com/office/drawing/2014/main" id="{C5D1260F-BD70-4217-AB42-4ED70C94A04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8163" y="1308164"/>
            <a:ext cx="4089600" cy="18000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spcAft>
                <a:spcPts val="0"/>
              </a:spcAft>
              <a:buNone/>
              <a:defRPr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0" indent="0">
              <a:spcAft>
                <a:spcPts val="0"/>
              </a:spcAft>
              <a:buNone/>
              <a:defRPr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0" indent="0">
              <a:spcAft>
                <a:spcPts val="0"/>
              </a:spcAft>
              <a:buNone/>
              <a:defRPr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0" indent="0">
              <a:lnSpc>
                <a:spcPts val="1600"/>
              </a:lnSpc>
              <a:spcBef>
                <a:spcPts val="0"/>
              </a:spcBef>
              <a:buFontTx/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6pPr>
            <a:lvl7pPr marL="0" indent="0">
              <a:lnSpc>
                <a:spcPts val="1600"/>
              </a:lnSpc>
              <a:spcBef>
                <a:spcPts val="0"/>
              </a:spcBef>
              <a:buFontTx/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7pPr>
            <a:lvl8pPr marL="0" indent="0">
              <a:lnSpc>
                <a:spcPts val="1600"/>
              </a:lnSpc>
              <a:spcBef>
                <a:spcPts val="0"/>
              </a:spcBef>
              <a:buFontTx/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8pPr>
            <a:lvl9pPr marL="0" indent="0">
              <a:lnSpc>
                <a:spcPts val="1600"/>
              </a:lnSpc>
              <a:spcBef>
                <a:spcPts val="0"/>
              </a:spcBef>
              <a:buFontTx/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9pPr>
          </a:lstStyle>
          <a:p>
            <a:pPr lvl="0"/>
            <a:r>
              <a:rPr lang="en-US" noProof="0" dirty="0"/>
              <a:t>Subheadline in Calibri 14 pt.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189EF315-1826-4192-8763-6D39A9630CE8}"/>
              </a:ext>
            </a:extLst>
          </p:cNvPr>
          <p:cNvSpPr/>
          <p:nvPr userDrawn="1"/>
        </p:nvSpPr>
        <p:spPr>
          <a:xfrm>
            <a:off x="4665600" y="828000"/>
            <a:ext cx="1008000" cy="2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noProof="0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108460" y="4861089"/>
            <a:ext cx="681703" cy="405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7448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Image (Option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26367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id="{E4E2E521-BC9D-4672-A5D6-BEB62E62DCE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2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00E36B2A-2E85-49E6-9A40-E0876FFD89C8}"/>
              </a:ext>
            </a:extLst>
          </p:cNvPr>
          <p:cNvSpPr/>
          <p:nvPr userDrawn="1"/>
        </p:nvSpPr>
        <p:spPr>
          <a:xfrm>
            <a:off x="4665600" y="828000"/>
            <a:ext cx="1008000" cy="2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538163" y="1260000"/>
            <a:ext cx="4572000" cy="3780000"/>
          </a:xfrm>
        </p:spPr>
        <p:txBody>
          <a:bodyPr/>
          <a:lstStyle/>
          <a:p>
            <a:r>
              <a:rPr lang="en-US" noProof="0" dirty="0"/>
              <a:t>Insert imag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705776" y="1713600"/>
            <a:ext cx="4089600" cy="3326400"/>
          </a:xfrm>
        </p:spPr>
        <p:txBody>
          <a:bodyPr/>
          <a:lstStyle>
            <a:lvl1pPr>
              <a:defRPr b="0"/>
            </a:lvl1pPr>
            <a:lvl2pPr marL="144000" indent="-144000">
              <a:buFont typeface="Symbol" panose="05050102010706020507" pitchFamily="18" charset="2"/>
              <a:buChar char="-"/>
              <a:defRPr/>
            </a:lvl2pPr>
          </a:lstStyle>
          <a:p>
            <a:pPr lvl="0"/>
            <a:r>
              <a:rPr lang="en-US" noProof="0" dirty="0"/>
              <a:t>Insert text in Calibri Light 14 pt. </a:t>
            </a:r>
            <a:br>
              <a:rPr lang="en-US" noProof="0" dirty="0"/>
            </a:br>
            <a:r>
              <a:rPr lang="en-US" noProof="0" dirty="0"/>
              <a:t>(Bullets: Home / Paragraph / Increase List Level)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2000" y="5364000"/>
            <a:ext cx="1261875" cy="94488"/>
          </a:xfrm>
          <a:prstGeom prst="rect">
            <a:avLst/>
          </a:prstGeom>
        </p:spPr>
      </p:pic>
      <p:cxnSp>
        <p:nvCxnSpPr>
          <p:cNvPr id="15" name="Gerader Verbinder 14"/>
          <p:cNvCxnSpPr/>
          <p:nvPr userDrawn="1"/>
        </p:nvCxnSpPr>
        <p:spPr>
          <a:xfrm>
            <a:off x="5706000" y="1249198"/>
            <a:ext cx="409075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540000" y="4827277"/>
            <a:ext cx="4572000" cy="216000"/>
          </a:xfrm>
        </p:spPr>
        <p:txBody>
          <a:bodyPr lIns="198000" tIns="25200" rIns="198000" anchor="t"/>
          <a:lstStyle>
            <a:lvl1pPr marL="0" indent="0">
              <a:lnSpc>
                <a:spcPts val="1200"/>
              </a:lnSpc>
              <a:buFont typeface="Arial" panose="020B0604020202020204" pitchFamily="34" charset="0"/>
              <a:buNone/>
              <a:defRPr sz="1000" b="0">
                <a:solidFill>
                  <a:schemeClr val="bg1"/>
                </a:solidFill>
                <a:latin typeface="+mn-lt"/>
                <a:cs typeface="Calibri" panose="020F0502020204030204" pitchFamily="34" charset="0"/>
              </a:defRPr>
            </a:lvl1pPr>
            <a:lvl2pPr marL="0" indent="0">
              <a:lnSpc>
                <a:spcPts val="1200"/>
              </a:lnSpc>
              <a:buNone/>
              <a:defRPr sz="10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lnSpc>
                <a:spcPts val="1200"/>
              </a:lnSpc>
              <a:buNone/>
              <a:defRPr sz="10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0" indent="0">
              <a:lnSpc>
                <a:spcPts val="1200"/>
              </a:lnSpc>
              <a:buNone/>
              <a:defRPr sz="10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0" indent="0">
              <a:lnSpc>
                <a:spcPts val="1200"/>
              </a:lnSpc>
              <a:buNone/>
              <a:defRPr sz="10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 noProof="0" dirty="0"/>
              <a:t>Insert Caption in Calibri Light 10 pt.</a:t>
            </a:r>
          </a:p>
        </p:txBody>
      </p:sp>
      <p:sp>
        <p:nvSpPr>
          <p:cNvPr id="20" name="Textplatzhalter 12">
            <a:extLst>
              <a:ext uri="{FF2B5EF4-FFF2-40B4-BE49-F238E27FC236}">
                <a16:creationId xmlns:a16="http://schemas.microsoft.com/office/drawing/2014/main" id="{AB30D31E-003F-438D-AE94-AB2787B544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8163" y="228457"/>
            <a:ext cx="9252000" cy="180000"/>
          </a:xfrm>
          <a:noFill/>
        </p:spPr>
        <p:txBody>
          <a:bodyPr wrap="none"/>
          <a:lstStyle>
            <a:lvl1pPr algn="ctr">
              <a:lnSpc>
                <a:spcPts val="1400"/>
              </a:lnSpc>
              <a:spcAft>
                <a:spcPts val="0"/>
              </a:spcAft>
              <a:buFontTx/>
              <a:buNone/>
              <a:defRPr sz="1100" b="0" cap="all" spc="300" baseline="0">
                <a:solidFill>
                  <a:schemeClr val="tx2"/>
                </a:solidFill>
                <a:latin typeface="+mn-lt"/>
              </a:defRPr>
            </a:lvl1pPr>
            <a:lvl2pPr>
              <a:lnSpc>
                <a:spcPts val="1400"/>
              </a:lnSpc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  <a:latin typeface="+mn-lt"/>
                <a:cs typeface="Calibri" panose="020F0502020204030204" pitchFamily="34" charset="0"/>
              </a:defRPr>
            </a:lvl2pPr>
            <a:lvl3pPr marL="0" indent="0">
              <a:lnSpc>
                <a:spcPts val="1400"/>
              </a:lnSpc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  <a:latin typeface="+mn-lt"/>
                <a:cs typeface="Calibri" panose="020F0502020204030204" pitchFamily="34" charset="0"/>
              </a:defRPr>
            </a:lvl3pPr>
            <a:lvl4pPr marL="0" indent="0">
              <a:lnSpc>
                <a:spcPts val="1400"/>
              </a:lnSpc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  <a:latin typeface="+mn-lt"/>
                <a:cs typeface="Calibri" panose="020F0502020204030204" pitchFamily="34" charset="0"/>
              </a:defRPr>
            </a:lvl4pPr>
            <a:lvl5pPr marL="0" indent="0">
              <a:lnSpc>
                <a:spcPts val="1400"/>
              </a:lnSpc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  <a:latin typeface="+mn-lt"/>
                <a:cs typeface="Calibri" panose="020F0502020204030204" pitchFamily="34" charset="0"/>
              </a:defRPr>
            </a:lvl5pPr>
            <a:lvl6pPr marL="0" indent="0">
              <a:lnSpc>
                <a:spcPts val="14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ts val="14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ts val="14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  <a:latin typeface="+mn-lt"/>
              </a:defRPr>
            </a:lvl8pPr>
            <a:lvl9pPr marL="0" indent="0">
              <a:lnSpc>
                <a:spcPts val="14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Optional chapter heading in Calibri Light 11 pt.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539999" y="429949"/>
            <a:ext cx="9252000" cy="324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Headline in one line in Calibri 22 pt.</a:t>
            </a:r>
          </a:p>
        </p:txBody>
      </p:sp>
      <p:sp>
        <p:nvSpPr>
          <p:cNvPr id="21" name="Textplatzhalter 14">
            <a:extLst>
              <a:ext uri="{FF2B5EF4-FFF2-40B4-BE49-F238E27FC236}">
                <a16:creationId xmlns:a16="http://schemas.microsoft.com/office/drawing/2014/main" id="{C5D1260F-BD70-4217-AB42-4ED70C94A04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706000" y="1308164"/>
            <a:ext cx="4089600" cy="18000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spcAft>
                <a:spcPts val="0"/>
              </a:spcAft>
              <a:buNone/>
              <a:defRPr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0" indent="0">
              <a:spcAft>
                <a:spcPts val="0"/>
              </a:spcAft>
              <a:buNone/>
              <a:defRPr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0" indent="0">
              <a:spcAft>
                <a:spcPts val="0"/>
              </a:spcAft>
              <a:buNone/>
              <a:defRPr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0" indent="0">
              <a:lnSpc>
                <a:spcPts val="1600"/>
              </a:lnSpc>
              <a:spcBef>
                <a:spcPts val="0"/>
              </a:spcBef>
              <a:buFontTx/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6pPr>
            <a:lvl7pPr marL="0" indent="0">
              <a:lnSpc>
                <a:spcPts val="1600"/>
              </a:lnSpc>
              <a:spcBef>
                <a:spcPts val="0"/>
              </a:spcBef>
              <a:buFontTx/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7pPr>
            <a:lvl8pPr marL="0" indent="0">
              <a:lnSpc>
                <a:spcPts val="1600"/>
              </a:lnSpc>
              <a:spcBef>
                <a:spcPts val="0"/>
              </a:spcBef>
              <a:buFontTx/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8pPr>
            <a:lvl9pPr marL="0" indent="0">
              <a:lnSpc>
                <a:spcPts val="1600"/>
              </a:lnSpc>
              <a:spcBef>
                <a:spcPts val="0"/>
              </a:spcBef>
              <a:buFontTx/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9pPr>
          </a:lstStyle>
          <a:p>
            <a:pPr lvl="0"/>
            <a:r>
              <a:rPr lang="en-US" noProof="0" dirty="0"/>
              <a:t>Subheadline in Calibri 14 pt.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108460" y="4861089"/>
            <a:ext cx="681703" cy="405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7230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689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2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2000" y="5364000"/>
            <a:ext cx="1261875" cy="94488"/>
          </a:xfrm>
          <a:prstGeom prst="rect">
            <a:avLst/>
          </a:prstGeom>
        </p:spPr>
      </p:pic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540000" y="2250000"/>
            <a:ext cx="3009600" cy="2250000"/>
          </a:xfrm>
        </p:spPr>
        <p:txBody>
          <a:bodyPr/>
          <a:lstStyle/>
          <a:p>
            <a:r>
              <a:rPr lang="en-US" noProof="0" dirty="0"/>
              <a:t>Insert image</a:t>
            </a:r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540000" y="4598676"/>
            <a:ext cx="3009600" cy="180000"/>
          </a:xfrm>
        </p:spPr>
        <p:txBody>
          <a:bodyPr lIns="0" tIns="0" rIns="0" anchor="t">
            <a:noAutofit/>
          </a:bodyPr>
          <a:lstStyle>
            <a:lvl1pPr marL="0" indent="0">
              <a:lnSpc>
                <a:spcPts val="1200"/>
              </a:lnSpc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0" indent="0">
              <a:lnSpc>
                <a:spcPts val="1200"/>
              </a:lnSpc>
              <a:buNone/>
              <a:defRPr sz="10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lnSpc>
                <a:spcPts val="1200"/>
              </a:lnSpc>
              <a:buNone/>
              <a:defRPr sz="10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0" indent="0">
              <a:lnSpc>
                <a:spcPts val="1200"/>
              </a:lnSpc>
              <a:buNone/>
              <a:defRPr sz="10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0" indent="0">
              <a:lnSpc>
                <a:spcPts val="1200"/>
              </a:lnSpc>
              <a:buNone/>
              <a:defRPr sz="10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 noProof="0" dirty="0"/>
              <a:t>Insert Caption in Calibri Light 10 pt.</a:t>
            </a:r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5" hasCustomPrompt="1"/>
          </p:nvPr>
        </p:nvSpPr>
        <p:spPr>
          <a:xfrm>
            <a:off x="3653317" y="2250000"/>
            <a:ext cx="3009600" cy="2250000"/>
          </a:xfrm>
        </p:spPr>
        <p:txBody>
          <a:bodyPr/>
          <a:lstStyle/>
          <a:p>
            <a:r>
              <a:rPr lang="en-US" noProof="0" dirty="0"/>
              <a:t>Insert image</a:t>
            </a:r>
          </a:p>
        </p:txBody>
      </p:sp>
      <p:sp>
        <p:nvSpPr>
          <p:cNvPr id="14" name="Bildplatzhalter 8"/>
          <p:cNvSpPr>
            <a:spLocks noGrp="1"/>
          </p:cNvSpPr>
          <p:nvPr>
            <p:ph type="pic" sz="quarter" idx="16" hasCustomPrompt="1"/>
          </p:nvPr>
        </p:nvSpPr>
        <p:spPr>
          <a:xfrm>
            <a:off x="6774517" y="2250000"/>
            <a:ext cx="3009600" cy="2250000"/>
          </a:xfrm>
        </p:spPr>
        <p:txBody>
          <a:bodyPr/>
          <a:lstStyle/>
          <a:p>
            <a:r>
              <a:rPr lang="en-US" noProof="0" dirty="0"/>
              <a:t>Insert image</a:t>
            </a:r>
          </a:p>
        </p:txBody>
      </p:sp>
      <p:sp>
        <p:nvSpPr>
          <p:cNvPr id="16" name="Textplatzhalt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3661200" y="4597200"/>
            <a:ext cx="3009600" cy="180000"/>
          </a:xfrm>
        </p:spPr>
        <p:txBody>
          <a:bodyPr lIns="0" tIns="0" rIns="0" anchor="t">
            <a:noAutofit/>
          </a:bodyPr>
          <a:lstStyle>
            <a:lvl1pPr marL="0" indent="0">
              <a:lnSpc>
                <a:spcPts val="1200"/>
              </a:lnSpc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0" indent="0">
              <a:lnSpc>
                <a:spcPts val="1200"/>
              </a:lnSpc>
              <a:buNone/>
              <a:defRPr sz="10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lnSpc>
                <a:spcPts val="1200"/>
              </a:lnSpc>
              <a:buNone/>
              <a:defRPr sz="10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0" indent="0">
              <a:lnSpc>
                <a:spcPts val="1200"/>
              </a:lnSpc>
              <a:buNone/>
              <a:defRPr sz="10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0" indent="0">
              <a:lnSpc>
                <a:spcPts val="1200"/>
              </a:lnSpc>
              <a:buNone/>
              <a:defRPr sz="10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 noProof="0" dirty="0"/>
              <a:t>Insert Caption in Calibri Light 10 pt.</a:t>
            </a:r>
          </a:p>
        </p:txBody>
      </p:sp>
      <p:sp>
        <p:nvSpPr>
          <p:cNvPr id="18" name="Textplatzhalt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6775200" y="4597200"/>
            <a:ext cx="3009600" cy="180000"/>
          </a:xfrm>
        </p:spPr>
        <p:txBody>
          <a:bodyPr lIns="0" tIns="0" rIns="0" anchor="t">
            <a:noAutofit/>
          </a:bodyPr>
          <a:lstStyle>
            <a:lvl1pPr marL="0" indent="0">
              <a:lnSpc>
                <a:spcPts val="1200"/>
              </a:lnSpc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0" indent="0">
              <a:lnSpc>
                <a:spcPts val="1200"/>
              </a:lnSpc>
              <a:buNone/>
              <a:defRPr sz="10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lnSpc>
                <a:spcPts val="1200"/>
              </a:lnSpc>
              <a:buNone/>
              <a:defRPr sz="10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0" indent="0">
              <a:lnSpc>
                <a:spcPts val="1200"/>
              </a:lnSpc>
              <a:buNone/>
              <a:defRPr sz="10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0" indent="0">
              <a:lnSpc>
                <a:spcPts val="1200"/>
              </a:lnSpc>
              <a:buNone/>
              <a:defRPr sz="10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 noProof="0" dirty="0"/>
              <a:t>Insert Caption in Calibri Light 10 pt.</a:t>
            </a:r>
          </a:p>
        </p:txBody>
      </p:sp>
      <p:sp>
        <p:nvSpPr>
          <p:cNvPr id="23" name="Textplatzhalter 12">
            <a:extLst>
              <a:ext uri="{FF2B5EF4-FFF2-40B4-BE49-F238E27FC236}">
                <a16:creationId xmlns:a16="http://schemas.microsoft.com/office/drawing/2014/main" id="{AB30D31E-003F-438D-AE94-AB2787B544B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163" y="228457"/>
            <a:ext cx="9252000" cy="180000"/>
          </a:xfrm>
          <a:noFill/>
        </p:spPr>
        <p:txBody>
          <a:bodyPr wrap="none"/>
          <a:lstStyle>
            <a:lvl1pPr algn="ctr">
              <a:lnSpc>
                <a:spcPts val="1400"/>
              </a:lnSpc>
              <a:spcAft>
                <a:spcPts val="0"/>
              </a:spcAft>
              <a:buFontTx/>
              <a:buNone/>
              <a:defRPr sz="1100" b="0" cap="all" spc="300" baseline="0">
                <a:solidFill>
                  <a:schemeClr val="tx2"/>
                </a:solidFill>
                <a:latin typeface="+mn-lt"/>
              </a:defRPr>
            </a:lvl1pPr>
            <a:lvl2pPr>
              <a:lnSpc>
                <a:spcPts val="1400"/>
              </a:lnSpc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  <a:latin typeface="+mn-lt"/>
                <a:cs typeface="Calibri" panose="020F0502020204030204" pitchFamily="34" charset="0"/>
              </a:defRPr>
            </a:lvl2pPr>
            <a:lvl3pPr marL="0" indent="0">
              <a:lnSpc>
                <a:spcPts val="1400"/>
              </a:lnSpc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  <a:latin typeface="+mn-lt"/>
                <a:cs typeface="Calibri" panose="020F0502020204030204" pitchFamily="34" charset="0"/>
              </a:defRPr>
            </a:lvl3pPr>
            <a:lvl4pPr marL="0" indent="0">
              <a:lnSpc>
                <a:spcPts val="1400"/>
              </a:lnSpc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  <a:latin typeface="+mn-lt"/>
                <a:cs typeface="Calibri" panose="020F0502020204030204" pitchFamily="34" charset="0"/>
              </a:defRPr>
            </a:lvl4pPr>
            <a:lvl5pPr marL="0" indent="0">
              <a:lnSpc>
                <a:spcPts val="1400"/>
              </a:lnSpc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  <a:latin typeface="+mn-lt"/>
                <a:cs typeface="Calibri" panose="020F0502020204030204" pitchFamily="34" charset="0"/>
              </a:defRPr>
            </a:lvl5pPr>
            <a:lvl6pPr marL="0" indent="0">
              <a:lnSpc>
                <a:spcPts val="14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ts val="14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ts val="14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  <a:latin typeface="+mn-lt"/>
              </a:defRPr>
            </a:lvl8pPr>
            <a:lvl9pPr marL="0" indent="0">
              <a:lnSpc>
                <a:spcPts val="14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Optional chapter heading in Calibri Light 11 pt.</a:t>
            </a:r>
          </a:p>
        </p:txBody>
      </p:sp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539999" y="429949"/>
            <a:ext cx="9252000" cy="324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Headline in one line in Calibri 22 pt.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6529108D-1001-412C-AF59-90F83576DBFC}"/>
              </a:ext>
            </a:extLst>
          </p:cNvPr>
          <p:cNvSpPr/>
          <p:nvPr userDrawn="1"/>
        </p:nvSpPr>
        <p:spPr>
          <a:xfrm>
            <a:off x="4665600" y="828000"/>
            <a:ext cx="1008000" cy="2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noProof="0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C5D1260F-BD70-4217-AB42-4ED70C94A04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8163" y="1308164"/>
            <a:ext cx="2952000" cy="18000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spcAft>
                <a:spcPts val="0"/>
              </a:spcAft>
              <a:buNone/>
              <a:defRPr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0" indent="0">
              <a:spcAft>
                <a:spcPts val="0"/>
              </a:spcAft>
              <a:buNone/>
              <a:defRPr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0" indent="0">
              <a:spcAft>
                <a:spcPts val="0"/>
              </a:spcAft>
              <a:buNone/>
              <a:defRPr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0" indent="0">
              <a:lnSpc>
                <a:spcPts val="1600"/>
              </a:lnSpc>
              <a:spcBef>
                <a:spcPts val="0"/>
              </a:spcBef>
              <a:buFontTx/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6pPr>
            <a:lvl7pPr marL="0" indent="0">
              <a:lnSpc>
                <a:spcPts val="1600"/>
              </a:lnSpc>
              <a:spcBef>
                <a:spcPts val="0"/>
              </a:spcBef>
              <a:buFontTx/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7pPr>
            <a:lvl8pPr marL="0" indent="0">
              <a:lnSpc>
                <a:spcPts val="1600"/>
              </a:lnSpc>
              <a:spcBef>
                <a:spcPts val="0"/>
              </a:spcBef>
              <a:buFontTx/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8pPr>
            <a:lvl9pPr marL="0" indent="0">
              <a:lnSpc>
                <a:spcPts val="1600"/>
              </a:lnSpc>
              <a:spcBef>
                <a:spcPts val="0"/>
              </a:spcBef>
              <a:buFontTx/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9pPr>
          </a:lstStyle>
          <a:p>
            <a:pPr lvl="0"/>
            <a:r>
              <a:rPr lang="en-US" noProof="0" dirty="0"/>
              <a:t>Subheadline in Calibri 14 pt.</a:t>
            </a:r>
          </a:p>
        </p:txBody>
      </p:sp>
      <p:sp>
        <p:nvSpPr>
          <p:cNvPr id="20" name="object 4">
            <a:extLst>
              <a:ext uri="{FF2B5EF4-FFF2-40B4-BE49-F238E27FC236}">
                <a16:creationId xmlns:a16="http://schemas.microsoft.com/office/drawing/2014/main" id="{3CCB2C01-2427-462B-B0BA-DC803E2E6E94}"/>
              </a:ext>
            </a:extLst>
          </p:cNvPr>
          <p:cNvSpPr/>
          <p:nvPr userDrawn="1"/>
        </p:nvSpPr>
        <p:spPr>
          <a:xfrm>
            <a:off x="540000" y="1249200"/>
            <a:ext cx="2952000" cy="0"/>
          </a:xfrm>
          <a:custGeom>
            <a:avLst/>
            <a:gdLst/>
            <a:ahLst/>
            <a:cxnLst/>
            <a:rect l="l" t="t" r="r" b="b"/>
            <a:pathLst>
              <a:path w="2940050">
                <a:moveTo>
                  <a:pt x="0" y="0"/>
                </a:moveTo>
                <a:lnTo>
                  <a:pt x="2940037" y="0"/>
                </a:lnTo>
              </a:path>
            </a:pathLst>
          </a:custGeom>
          <a:ln w="6350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pPr eaLnBrk="1"/>
            <a:endParaRPr lang="en-US" dirty="0">
              <a:cs typeface="Calibri" panose="020F0502020204030204" pitchFamily="34" charset="0"/>
            </a:endParaRPr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108460" y="4861089"/>
            <a:ext cx="681703" cy="405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4501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-Sub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0527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2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2000" y="5364000"/>
            <a:ext cx="1261875" cy="94488"/>
          </a:xfrm>
          <a:prstGeom prst="rect">
            <a:avLst/>
          </a:prstGeom>
        </p:spPr>
      </p:pic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AB30D31E-003F-438D-AE94-AB2787B544B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8163" y="228457"/>
            <a:ext cx="9252000" cy="180000"/>
          </a:xfrm>
          <a:noFill/>
        </p:spPr>
        <p:txBody>
          <a:bodyPr wrap="none"/>
          <a:lstStyle>
            <a:lvl1pPr algn="ctr">
              <a:lnSpc>
                <a:spcPts val="1400"/>
              </a:lnSpc>
              <a:spcAft>
                <a:spcPts val="0"/>
              </a:spcAft>
              <a:buFontTx/>
              <a:buNone/>
              <a:defRPr sz="1100" b="0" cap="all" spc="300" baseline="0">
                <a:solidFill>
                  <a:schemeClr val="tx2"/>
                </a:solidFill>
                <a:latin typeface="+mn-lt"/>
              </a:defRPr>
            </a:lvl1pPr>
            <a:lvl2pPr>
              <a:lnSpc>
                <a:spcPts val="1400"/>
              </a:lnSpc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  <a:latin typeface="+mn-lt"/>
                <a:cs typeface="Calibri" panose="020F0502020204030204" pitchFamily="34" charset="0"/>
              </a:defRPr>
            </a:lvl2pPr>
            <a:lvl3pPr marL="0" indent="0">
              <a:lnSpc>
                <a:spcPts val="1400"/>
              </a:lnSpc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  <a:latin typeface="+mn-lt"/>
                <a:cs typeface="Calibri" panose="020F0502020204030204" pitchFamily="34" charset="0"/>
              </a:defRPr>
            </a:lvl3pPr>
            <a:lvl4pPr marL="0" indent="0">
              <a:lnSpc>
                <a:spcPts val="1400"/>
              </a:lnSpc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  <a:latin typeface="+mn-lt"/>
                <a:cs typeface="Calibri" panose="020F0502020204030204" pitchFamily="34" charset="0"/>
              </a:defRPr>
            </a:lvl4pPr>
            <a:lvl5pPr marL="0" indent="0">
              <a:lnSpc>
                <a:spcPts val="1400"/>
              </a:lnSpc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  <a:latin typeface="+mn-lt"/>
                <a:cs typeface="Calibri" panose="020F0502020204030204" pitchFamily="34" charset="0"/>
              </a:defRPr>
            </a:lvl5pPr>
            <a:lvl6pPr marL="0" indent="0">
              <a:lnSpc>
                <a:spcPts val="14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ts val="14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ts val="14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  <a:latin typeface="+mn-lt"/>
              </a:defRPr>
            </a:lvl8pPr>
            <a:lvl9pPr marL="0" indent="0">
              <a:lnSpc>
                <a:spcPts val="14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Optional chapter heading in Calibri Light 11 pt.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539999" y="429949"/>
            <a:ext cx="9252000" cy="324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Headline in one line in Calibri 22 pt.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9CCDEB7E-C1A1-406A-9A41-9A5F0E4469DC}"/>
              </a:ext>
            </a:extLst>
          </p:cNvPr>
          <p:cNvSpPr/>
          <p:nvPr userDrawn="1"/>
        </p:nvSpPr>
        <p:spPr>
          <a:xfrm>
            <a:off x="4665600" y="828000"/>
            <a:ext cx="1008000" cy="2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noProof="0" dirty="0"/>
          </a:p>
        </p:txBody>
      </p:sp>
      <p:sp>
        <p:nvSpPr>
          <p:cNvPr id="12" name="Textplatzhalter 14">
            <a:extLst>
              <a:ext uri="{FF2B5EF4-FFF2-40B4-BE49-F238E27FC236}">
                <a16:creationId xmlns:a16="http://schemas.microsoft.com/office/drawing/2014/main" id="{435E4799-6D5E-4580-A0C0-1B59C1734AE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40000" y="1306800"/>
            <a:ext cx="9252000" cy="180000"/>
          </a:xfrm>
        </p:spPr>
        <p:txBody>
          <a:bodyPr wrap="square"/>
          <a:lstStyle>
            <a:lvl1pPr>
              <a:defRPr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spcAft>
                <a:spcPts val="0"/>
              </a:spcAft>
              <a:buNone/>
              <a:defRPr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0" indent="0">
              <a:spcAft>
                <a:spcPts val="0"/>
              </a:spcAft>
              <a:buNone/>
              <a:defRPr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0" indent="0">
              <a:spcAft>
                <a:spcPts val="0"/>
              </a:spcAft>
              <a:buNone/>
              <a:defRPr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0" indent="0">
              <a:lnSpc>
                <a:spcPts val="1600"/>
              </a:lnSpc>
              <a:spcBef>
                <a:spcPts val="0"/>
              </a:spcBef>
              <a:buFontTx/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6pPr>
            <a:lvl7pPr marL="0" indent="0">
              <a:lnSpc>
                <a:spcPts val="1600"/>
              </a:lnSpc>
              <a:spcBef>
                <a:spcPts val="0"/>
              </a:spcBef>
              <a:buFontTx/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7pPr>
            <a:lvl8pPr marL="0" indent="0">
              <a:lnSpc>
                <a:spcPts val="1600"/>
              </a:lnSpc>
              <a:spcBef>
                <a:spcPts val="0"/>
              </a:spcBef>
              <a:buFontTx/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8pPr>
            <a:lvl9pPr marL="0" indent="0">
              <a:lnSpc>
                <a:spcPts val="1600"/>
              </a:lnSpc>
              <a:spcBef>
                <a:spcPts val="0"/>
              </a:spcBef>
              <a:buFontTx/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9pPr>
          </a:lstStyle>
          <a:p>
            <a:pPr lvl="0"/>
            <a:r>
              <a:rPr lang="en-US" noProof="0" dirty="0"/>
              <a:t>Subheadline in Calibri 14 pt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108460" y="4861089"/>
            <a:ext cx="681703" cy="405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9592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034851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6" imgW="306" imgH="306" progId="TCLayout.ActiveDocument.1">
                  <p:embed/>
                </p:oleObj>
              </mc:Choice>
              <mc:Fallback>
                <p:oleObj name="think-cell Folie" r:id="rId16" imgW="306" imgH="306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2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B9F8DC96-936D-4041-B4D9-5BBF3093D731}"/>
              </a:ext>
            </a:extLst>
          </p:cNvPr>
          <p:cNvSpPr txBox="1"/>
          <p:nvPr userDrawn="1"/>
        </p:nvSpPr>
        <p:spPr>
          <a:xfrm>
            <a:off x="147600" y="5338800"/>
            <a:ext cx="198000" cy="1800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l" defTabSz="7550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229E32C-5AAA-4A9D-92C7-C4BB606ACBC8}" type="slidenum">
              <a:rPr lang="en-US" sz="800" kern="1200" noProof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rPr>
              <a:pPr marL="0" marR="0" lvl="0" indent="0" algn="l" defTabSz="7550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noProof="0" dirty="0">
              <a:solidFill>
                <a:schemeClr val="tx1"/>
              </a:solidFill>
              <a:latin typeface="+mn-lt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9999" y="428400"/>
            <a:ext cx="9252000" cy="324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/>
              <a:t>Headline in one line in Calibri 22 pt.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9998" y="1234678"/>
            <a:ext cx="9252000" cy="38052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Insert text in Calibri Light 14 pt. (Bullets: Home / Paragraph / Increase List Level)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cxnSp>
        <p:nvCxnSpPr>
          <p:cNvPr id="19" name="Gerader Verbinder 18"/>
          <p:cNvCxnSpPr/>
          <p:nvPr userDrawn="1"/>
        </p:nvCxnSpPr>
        <p:spPr>
          <a:xfrm>
            <a:off x="531289" y="-360000"/>
            <a:ext cx="0" cy="252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/>
          <p:cNvCxnSpPr/>
          <p:nvPr userDrawn="1"/>
        </p:nvCxnSpPr>
        <p:spPr>
          <a:xfrm>
            <a:off x="9792817" y="-360000"/>
            <a:ext cx="0" cy="252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/>
          <p:cNvCxnSpPr/>
          <p:nvPr userDrawn="1"/>
        </p:nvCxnSpPr>
        <p:spPr>
          <a:xfrm>
            <a:off x="532800" y="5760000"/>
            <a:ext cx="0" cy="252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26"/>
          <p:cNvCxnSpPr/>
          <p:nvPr userDrawn="1"/>
        </p:nvCxnSpPr>
        <p:spPr>
          <a:xfrm>
            <a:off x="9792000" y="5760000"/>
            <a:ext cx="0" cy="252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71809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9" r:id="rId3"/>
    <p:sldLayoutId id="2147483722" r:id="rId4"/>
    <p:sldLayoutId id="2147483673" r:id="rId5"/>
    <p:sldLayoutId id="2147483678" r:id="rId6"/>
    <p:sldLayoutId id="2147483717" r:id="rId7"/>
    <p:sldLayoutId id="2147483677" r:id="rId8"/>
    <p:sldLayoutId id="2147483725" r:id="rId9"/>
    <p:sldLayoutId id="2147483682" r:id="rId10"/>
    <p:sldLayoutId id="2147483714" r:id="rId11"/>
    <p:sldLayoutId id="2147483731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ctr" defTabSz="753557" rtl="0" eaLnBrk="1" latinLnBrk="0" hangingPunct="1">
        <a:lnSpc>
          <a:spcPts val="2640"/>
        </a:lnSpc>
        <a:spcBef>
          <a:spcPct val="0"/>
        </a:spcBef>
        <a:buNone/>
        <a:defRPr sz="22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753557" rtl="0" eaLnBrk="1" latinLnBrk="0" hangingPunct="1">
        <a:lnSpc>
          <a:spcPts val="1600"/>
        </a:lnSpc>
        <a:spcBef>
          <a:spcPts val="0"/>
        </a:spcBef>
        <a:buFontTx/>
        <a:buNone/>
        <a:defRPr kumimoji="0" lang="en-US" sz="1400" b="0" i="0" u="none" strike="noStrike" kern="1200" cap="none" spc="0" normalizeH="0" baseline="0" noProof="0" dirty="0" smtClean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144000" indent="-144000" algn="l" defTabSz="753557" rtl="0" eaLnBrk="1" latinLnBrk="0" hangingPunct="1">
        <a:lnSpc>
          <a:spcPts val="16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400" kern="1200" baseline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2pPr>
      <a:lvl3pPr marL="288000" indent="-144000" algn="l" defTabSz="753557" rtl="0" eaLnBrk="1" latinLnBrk="0" hangingPunct="1">
        <a:lnSpc>
          <a:spcPts val="1600"/>
        </a:lnSpc>
        <a:spcBef>
          <a:spcPts val="0"/>
        </a:spcBef>
        <a:spcAft>
          <a:spcPts val="600"/>
        </a:spcAft>
        <a:buClr>
          <a:schemeClr val="tx2"/>
        </a:buClr>
        <a:buFont typeface="Calibri Light" panose="020F0302020204030204" pitchFamily="34" charset="0"/>
        <a:buChar char="‒"/>
        <a:defRPr sz="1400" kern="1200" baseline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432000" indent="-144000" algn="l" defTabSz="753557" rtl="0" eaLnBrk="1" latinLnBrk="0" hangingPunct="1">
        <a:lnSpc>
          <a:spcPts val="1600"/>
        </a:lnSpc>
        <a:spcBef>
          <a:spcPts val="0"/>
        </a:spcBef>
        <a:spcAft>
          <a:spcPts val="600"/>
        </a:spcAft>
        <a:buClr>
          <a:schemeClr val="accent3"/>
        </a:buClr>
        <a:buFont typeface="Calibri Light" panose="020F0302020204030204" pitchFamily="34" charset="0"/>
        <a:buChar char="‒"/>
        <a:defRPr sz="1400" kern="1200" baseline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576000" indent="-144000" algn="l" defTabSz="753557" rtl="0" eaLnBrk="1" latinLnBrk="0" hangingPunct="1">
        <a:lnSpc>
          <a:spcPts val="1600"/>
        </a:lnSpc>
        <a:spcBef>
          <a:spcPts val="0"/>
        </a:spcBef>
        <a:spcAft>
          <a:spcPts val="600"/>
        </a:spcAft>
        <a:buFont typeface="Calibri Light" panose="020F030202020403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576000" indent="-144000" algn="l" defTabSz="753557" rtl="0" eaLnBrk="1" latinLnBrk="0" hangingPunct="1">
        <a:lnSpc>
          <a:spcPts val="1600"/>
        </a:lnSpc>
        <a:spcBef>
          <a:spcPts val="0"/>
        </a:spcBef>
        <a:spcAft>
          <a:spcPts val="600"/>
        </a:spcAft>
        <a:buFont typeface="Calibri Light" panose="020F030202020403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576000" indent="-144000" algn="l" defTabSz="753557" rtl="0" eaLnBrk="1" latinLnBrk="0" hangingPunct="1">
        <a:lnSpc>
          <a:spcPts val="1600"/>
        </a:lnSpc>
        <a:spcBef>
          <a:spcPts val="0"/>
        </a:spcBef>
        <a:spcAft>
          <a:spcPts val="600"/>
        </a:spcAft>
        <a:buFont typeface="Calibri Light" panose="020F030202020403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576000" indent="-144000" algn="l" defTabSz="753557" rtl="0" eaLnBrk="1" latinLnBrk="0" hangingPunct="1">
        <a:lnSpc>
          <a:spcPts val="1600"/>
        </a:lnSpc>
        <a:spcBef>
          <a:spcPts val="0"/>
        </a:spcBef>
        <a:spcAft>
          <a:spcPts val="600"/>
        </a:spcAft>
        <a:buFont typeface="Calibri Light" panose="020F030202020403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576000" indent="-144000" algn="l" defTabSz="753557" rtl="0" eaLnBrk="1" latinLnBrk="0" hangingPunct="1">
        <a:lnSpc>
          <a:spcPts val="1600"/>
        </a:lnSpc>
        <a:spcBef>
          <a:spcPts val="0"/>
        </a:spcBef>
        <a:spcAft>
          <a:spcPts val="600"/>
        </a:spcAft>
        <a:buFont typeface="Calibri Light" panose="020F030202020403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53557" rtl="0" eaLnBrk="1" latinLnBrk="0" hangingPunct="1">
        <a:defRPr sz="1483" kern="1200">
          <a:solidFill>
            <a:schemeClr val="tx1"/>
          </a:solidFill>
          <a:latin typeface="+mn-lt"/>
          <a:ea typeface="+mn-ea"/>
          <a:cs typeface="+mn-cs"/>
        </a:defRPr>
      </a:lvl1pPr>
      <a:lvl2pPr marL="376779" algn="l" defTabSz="753557" rtl="0" eaLnBrk="1" latinLnBrk="0" hangingPunct="1">
        <a:defRPr sz="1483" kern="1200">
          <a:solidFill>
            <a:schemeClr val="tx1"/>
          </a:solidFill>
          <a:latin typeface="+mn-lt"/>
          <a:ea typeface="+mn-ea"/>
          <a:cs typeface="+mn-cs"/>
        </a:defRPr>
      </a:lvl2pPr>
      <a:lvl3pPr marL="753557" algn="l" defTabSz="753557" rtl="0" eaLnBrk="1" latinLnBrk="0" hangingPunct="1">
        <a:defRPr sz="1483" kern="1200">
          <a:solidFill>
            <a:schemeClr val="tx1"/>
          </a:solidFill>
          <a:latin typeface="+mn-lt"/>
          <a:ea typeface="+mn-ea"/>
          <a:cs typeface="+mn-cs"/>
        </a:defRPr>
      </a:lvl3pPr>
      <a:lvl4pPr marL="1130336" algn="l" defTabSz="753557" rtl="0" eaLnBrk="1" latinLnBrk="0" hangingPunct="1">
        <a:defRPr sz="1483" kern="1200">
          <a:solidFill>
            <a:schemeClr val="tx1"/>
          </a:solidFill>
          <a:latin typeface="+mn-lt"/>
          <a:ea typeface="+mn-ea"/>
          <a:cs typeface="+mn-cs"/>
        </a:defRPr>
      </a:lvl4pPr>
      <a:lvl5pPr marL="1507114" algn="l" defTabSz="753557" rtl="0" eaLnBrk="1" latinLnBrk="0" hangingPunct="1">
        <a:defRPr sz="1483" kern="1200">
          <a:solidFill>
            <a:schemeClr val="tx1"/>
          </a:solidFill>
          <a:latin typeface="+mn-lt"/>
          <a:ea typeface="+mn-ea"/>
          <a:cs typeface="+mn-cs"/>
        </a:defRPr>
      </a:lvl5pPr>
      <a:lvl6pPr marL="1883893" algn="l" defTabSz="753557" rtl="0" eaLnBrk="1" latinLnBrk="0" hangingPunct="1">
        <a:defRPr sz="1483" kern="1200">
          <a:solidFill>
            <a:schemeClr val="tx1"/>
          </a:solidFill>
          <a:latin typeface="+mn-lt"/>
          <a:ea typeface="+mn-ea"/>
          <a:cs typeface="+mn-cs"/>
        </a:defRPr>
      </a:lvl6pPr>
      <a:lvl7pPr marL="2260671" algn="l" defTabSz="753557" rtl="0" eaLnBrk="1" latinLnBrk="0" hangingPunct="1">
        <a:defRPr sz="1483" kern="1200">
          <a:solidFill>
            <a:schemeClr val="tx1"/>
          </a:solidFill>
          <a:latin typeface="+mn-lt"/>
          <a:ea typeface="+mn-ea"/>
          <a:cs typeface="+mn-cs"/>
        </a:defRPr>
      </a:lvl7pPr>
      <a:lvl8pPr marL="2637450" algn="l" defTabSz="753557" rtl="0" eaLnBrk="1" latinLnBrk="0" hangingPunct="1">
        <a:defRPr sz="1483" kern="1200">
          <a:solidFill>
            <a:schemeClr val="tx1"/>
          </a:solidFill>
          <a:latin typeface="+mn-lt"/>
          <a:ea typeface="+mn-ea"/>
          <a:cs typeface="+mn-cs"/>
        </a:defRPr>
      </a:lvl8pPr>
      <a:lvl9pPr marL="3014228" algn="l" defTabSz="753557" rtl="0" eaLnBrk="1" latinLnBrk="0" hangingPunct="1">
        <a:defRPr sz="148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73" userDrawn="1">
          <p15:clr>
            <a:srgbClr val="F26B43"/>
          </p15:clr>
        </p15:guide>
        <p15:guide id="2" pos="3255" userDrawn="1">
          <p15:clr>
            <a:srgbClr val="F26B43"/>
          </p15:clr>
        </p15:guide>
        <p15:guide id="3" pos="6174" userDrawn="1">
          <p15:clr>
            <a:srgbClr val="F26B43"/>
          </p15:clr>
        </p15:guide>
        <p15:guide id="4" pos="335" userDrawn="1">
          <p15:clr>
            <a:srgbClr val="F26B43"/>
          </p15:clr>
        </p15:guide>
        <p15:guide id="5" orient="horz" pos="269" userDrawn="1">
          <p15:clr>
            <a:srgbClr val="F26B43"/>
          </p15:clr>
        </p15:guide>
        <p15:guide id="6" orient="horz" pos="483" userDrawn="1">
          <p15:clr>
            <a:srgbClr val="F26B43"/>
          </p15:clr>
        </p15:guide>
        <p15:guide id="7" orient="horz" pos="3176" userDrawn="1">
          <p15:clr>
            <a:srgbClr val="F26B43"/>
          </p15:clr>
        </p15:guide>
        <p15:guide id="8" orient="horz" pos="34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0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image" Target="../media/image9.jp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0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0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0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9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0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0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0.jpeg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0.jpeg"/><Relationship Id="rId4" Type="http://schemas.openxmlformats.org/officeDocument/2006/relationships/image" Target="../media/image19.jpeg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12.jpg"/><Relationship Id="rId7" Type="http://schemas.openxmlformats.org/officeDocument/2006/relationships/diagramColors" Target="../diagrams/colors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10" Type="http://schemas.openxmlformats.org/officeDocument/2006/relationships/image" Target="../media/image10.jpeg"/><Relationship Id="rId4" Type="http://schemas.openxmlformats.org/officeDocument/2006/relationships/diagramData" Target="../diagrams/data2.xml"/><Relationship Id="rId9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FE364FC-76C0-4423-AE2A-36335CD142B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54936" y="1462360"/>
            <a:ext cx="3846524" cy="3273216"/>
          </a:xfrm>
        </p:spPr>
        <p:txBody>
          <a:bodyPr/>
          <a:lstStyle/>
          <a:p>
            <a:r>
              <a:rPr lang="en-GB" sz="2800" b="1" dirty="0" err="1"/>
              <a:t>Bærekraft</a:t>
            </a:r>
            <a:r>
              <a:rPr lang="en-GB" sz="2800" b="1" dirty="0"/>
              <a:t>; </a:t>
            </a:r>
            <a:r>
              <a:rPr lang="en-GB" sz="2800" b="1" dirty="0" err="1"/>
              <a:t>eller</a:t>
            </a:r>
            <a:r>
              <a:rPr lang="en-GB" sz="2800" b="1" dirty="0"/>
              <a:t> “Licence to operate” </a:t>
            </a:r>
          </a:p>
          <a:p>
            <a:r>
              <a:rPr lang="en-GB" sz="2800" b="1" dirty="0"/>
              <a:t>SAMMEN2020</a:t>
            </a:r>
            <a:endParaRPr lang="nb-NO" sz="2000" dirty="0"/>
          </a:p>
          <a:p>
            <a:r>
              <a:rPr lang="nb-NO" sz="2000" dirty="0"/>
              <a:t>10. november 2021</a:t>
            </a:r>
          </a:p>
          <a:p>
            <a:br>
              <a:rPr lang="nb-NO" sz="1200" dirty="0"/>
            </a:br>
            <a:r>
              <a:rPr lang="nb-NO" sz="1400" dirty="0"/>
              <a:t>Per Brevik, Dir. for bærekraft HeidelbergCement NE</a:t>
            </a:r>
          </a:p>
        </p:txBody>
      </p:sp>
      <p:pic>
        <p:nvPicPr>
          <p:cNvPr id="9" name="Plassholder for bilde 8">
            <a:extLst>
              <a:ext uri="{FF2B5EF4-FFF2-40B4-BE49-F238E27FC236}">
                <a16:creationId xmlns:a16="http://schemas.microsoft.com/office/drawing/2014/main" id="{6350761B-B544-45E9-A189-5280052DE8A4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748" y="128777"/>
            <a:ext cx="794547" cy="732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539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ssholder for tekst 12">
            <a:extLst>
              <a:ext uri="{FF2B5EF4-FFF2-40B4-BE49-F238E27FC236}">
                <a16:creationId xmlns:a16="http://schemas.microsoft.com/office/drawing/2014/main" id="{B805CDB0-E80F-4EAE-B429-AD187458B07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6757" y="1260001"/>
            <a:ext cx="4129358" cy="403200"/>
          </a:xfrm>
        </p:spPr>
        <p:txBody>
          <a:bodyPr/>
          <a:lstStyle/>
          <a:p>
            <a:r>
              <a:rPr lang="nb-NO" sz="1800" i="1" dirty="0"/>
              <a:t>Karbonfangstprosjektet i Brevik</a:t>
            </a:r>
          </a:p>
        </p:txBody>
      </p:sp>
      <p:sp>
        <p:nvSpPr>
          <p:cNvPr id="17" name="Plassholder for tekst 16">
            <a:extLst>
              <a:ext uri="{FF2B5EF4-FFF2-40B4-BE49-F238E27FC236}">
                <a16:creationId xmlns:a16="http://schemas.microsoft.com/office/drawing/2014/main" id="{9DE8502B-79B5-48A1-801F-3DFF20D7216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6757" y="1663199"/>
            <a:ext cx="4129358" cy="1648107"/>
          </a:xfrm>
        </p:spPr>
        <p:txBody>
          <a:bodyPr/>
          <a:lstStyle/>
          <a:p>
            <a:endParaRPr lang="nb-NO" dirty="0"/>
          </a:p>
          <a:p>
            <a:r>
              <a:rPr lang="nb-NO" sz="2800" dirty="0"/>
              <a:t>Stort løft for oss – </a:t>
            </a:r>
          </a:p>
          <a:p>
            <a:r>
              <a:rPr lang="nb-NO" sz="2800" dirty="0"/>
              <a:t>inspirasjon for resten av  prosessindustrien?</a:t>
            </a:r>
          </a:p>
        </p:txBody>
      </p:sp>
      <p:pic>
        <p:nvPicPr>
          <p:cNvPr id="4" name="Plassholder for bilde 8">
            <a:extLst>
              <a:ext uri="{FF2B5EF4-FFF2-40B4-BE49-F238E27FC236}">
                <a16:creationId xmlns:a16="http://schemas.microsoft.com/office/drawing/2014/main" id="{44F1FED1-4703-4459-913A-B6D2D9AA7BA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748" y="128777"/>
            <a:ext cx="794547" cy="732724"/>
          </a:xfrm>
          <a:prstGeom prst="rect">
            <a:avLst/>
          </a:prstGeom>
          <a:solidFill>
            <a:schemeClr val="tx2">
              <a:alpha val="80000"/>
            </a:schemeClr>
          </a:solidFill>
        </p:spPr>
      </p:pic>
    </p:spTree>
    <p:extLst>
      <p:ext uri="{BB962C8B-B14F-4D97-AF65-F5344CB8AC3E}">
        <p14:creationId xmlns:p14="http://schemas.microsoft.com/office/powerpoint/2010/main" val="318174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tekst 5">
            <a:extLst>
              <a:ext uri="{FF2B5EF4-FFF2-40B4-BE49-F238E27FC236}">
                <a16:creationId xmlns:a16="http://schemas.microsoft.com/office/drawing/2014/main" id="{6E4AA3E7-B0C5-4B74-8B08-9714F3E7EA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0" y="3415082"/>
            <a:ext cx="4510800" cy="701181"/>
          </a:xfrm>
        </p:spPr>
        <p:txBody>
          <a:bodyPr/>
          <a:lstStyle/>
          <a:p>
            <a:r>
              <a:rPr lang="nb-NO" dirty="0"/>
              <a:t>CaCO</a:t>
            </a:r>
            <a:r>
              <a:rPr lang="nb-NO" baseline="-25000" dirty="0"/>
              <a:t>3</a:t>
            </a:r>
            <a:r>
              <a:rPr lang="nb-NO" dirty="0"/>
              <a:t> -&gt; </a:t>
            </a:r>
            <a:r>
              <a:rPr lang="nb-NO" dirty="0" err="1"/>
              <a:t>CaO</a:t>
            </a:r>
            <a:r>
              <a:rPr lang="nb-NO" dirty="0"/>
              <a:t> + CO</a:t>
            </a:r>
            <a:r>
              <a:rPr lang="nb-NO" baseline="-25000" dirty="0"/>
              <a:t>2</a:t>
            </a:r>
          </a:p>
          <a:p>
            <a:endParaRPr lang="nb-NO" dirty="0"/>
          </a:p>
        </p:txBody>
      </p:sp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757A2C5C-2790-49DC-8632-C731EE343C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Tittel 4">
            <a:extLst>
              <a:ext uri="{FF2B5EF4-FFF2-40B4-BE49-F238E27FC236}">
                <a16:creationId xmlns:a16="http://schemas.microsoft.com/office/drawing/2014/main" id="{58583549-1574-4990-B94E-4DCA93E40D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7033" y="1360264"/>
            <a:ext cx="3049588" cy="1409325"/>
          </a:xfrm>
          <a:solidFill>
            <a:schemeClr val="bg1">
              <a:alpha val="0"/>
            </a:schemeClr>
          </a:solidFill>
        </p:spPr>
        <p:txBody>
          <a:bodyPr/>
          <a:lstStyle/>
          <a:p>
            <a:r>
              <a:rPr lang="nb-NO" b="1" dirty="0">
                <a:solidFill>
                  <a:schemeClr val="tx2"/>
                </a:solidFill>
              </a:rPr>
              <a:t>Betong – verdens mest brukte byggemateriale. Sementen er utfordringen!</a:t>
            </a:r>
            <a:endParaRPr lang="nb-NO" dirty="0"/>
          </a:p>
        </p:txBody>
      </p:sp>
      <p:graphicFrame>
        <p:nvGraphicFramePr>
          <p:cNvPr id="10" name="Diagram 9">
            <a:extLst>
              <a:ext uri="{FF2B5EF4-FFF2-40B4-BE49-F238E27FC236}">
                <a16:creationId xmlns:a16="http://schemas.microsoft.com/office/drawing/2014/main" id="{6BE6DC18-5940-4305-BF3B-63F7162E7F0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52129325"/>
              </p:ext>
            </p:extLst>
          </p:nvPr>
        </p:nvGraphicFramePr>
        <p:xfrm>
          <a:off x="4179035" y="1171339"/>
          <a:ext cx="5901590" cy="36788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9" name="Plassholder for bilde 8">
            <a:extLst>
              <a:ext uri="{FF2B5EF4-FFF2-40B4-BE49-F238E27FC236}">
                <a16:creationId xmlns:a16="http://schemas.microsoft.com/office/drawing/2014/main" id="{FB1C9966-37C3-470D-A78F-0AC559F645A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748" y="128777"/>
            <a:ext cx="794547" cy="732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6839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9D52087D-DDC4-4717-9D86-3FAA809F38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Tittel 5">
            <a:extLst>
              <a:ext uri="{FF2B5EF4-FFF2-40B4-BE49-F238E27FC236}">
                <a16:creationId xmlns:a16="http://schemas.microsoft.com/office/drawing/2014/main" id="{2AC1595F-AFE0-4DF1-8A12-52353F72E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b="1" dirty="0">
                <a:solidFill>
                  <a:schemeClr val="tx2"/>
                </a:solidFill>
              </a:rPr>
              <a:t>Utslippene knyttet til betongproduksjon i Norge</a:t>
            </a:r>
            <a:endParaRPr lang="nb-NO" dirty="0"/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87542CD9-B1A1-464A-AB3A-B11F72A44412}"/>
              </a:ext>
            </a:extLst>
          </p:cNvPr>
          <p:cNvSpPr txBox="1"/>
          <p:nvPr/>
        </p:nvSpPr>
        <p:spPr>
          <a:xfrm>
            <a:off x="4249451" y="1569769"/>
            <a:ext cx="5345666" cy="344049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35487" indent="-235487">
              <a:buFont typeface="Arial" panose="020B0604020202020204" pitchFamily="34" charset="0"/>
              <a:buChar char="•"/>
            </a:pPr>
            <a:r>
              <a:rPr lang="nb-NO" sz="1978" dirty="0"/>
              <a:t>Konsentrerte utslippskilder, primært fra sementproduksjon</a:t>
            </a:r>
          </a:p>
          <a:p>
            <a:pPr marL="235487" indent="-235487">
              <a:buFont typeface="Arial" panose="020B0604020202020204" pitchFamily="34" charset="0"/>
              <a:buChar char="•"/>
            </a:pPr>
            <a:r>
              <a:rPr lang="nb-NO" sz="1978" dirty="0"/>
              <a:t>Enkelttiltak i sementproduksjon kan gi stor totaleffekt</a:t>
            </a:r>
          </a:p>
          <a:p>
            <a:pPr marL="235487" indent="-235487">
              <a:buFont typeface="Arial" panose="020B0604020202020204" pitchFamily="34" charset="0"/>
              <a:buChar char="•"/>
            </a:pPr>
            <a:r>
              <a:rPr lang="nb-NO" sz="1978" dirty="0"/>
              <a:t>Sementindustri inngår i internasjonal kvotehandel (ETS)</a:t>
            </a:r>
          </a:p>
          <a:p>
            <a:pPr marL="612265" lvl="1" indent="-235487">
              <a:buFont typeface="Arial" panose="020B0604020202020204" pitchFamily="34" charset="0"/>
              <a:buChar char="•"/>
            </a:pPr>
            <a:r>
              <a:rPr lang="nb-NO" sz="1978" dirty="0"/>
              <a:t>Utslipp registreres der de skjer</a:t>
            </a:r>
          </a:p>
          <a:p>
            <a:pPr marL="612265" lvl="1" indent="-235487">
              <a:buFont typeface="Arial" panose="020B0604020202020204" pitchFamily="34" charset="0"/>
              <a:buChar char="•"/>
            </a:pPr>
            <a:r>
              <a:rPr lang="nb-NO" sz="1978" dirty="0"/>
              <a:t>Importsement påvirker ikke norske utslippstall</a:t>
            </a:r>
          </a:p>
          <a:p>
            <a:pPr marL="612265" lvl="1" indent="-235487">
              <a:buFont typeface="Arial" panose="020B0604020202020204" pitchFamily="34" charset="0"/>
              <a:buChar char="•"/>
            </a:pPr>
            <a:r>
              <a:rPr lang="nb-NO" sz="1978" dirty="0"/>
              <a:t>Norcem har også noe eksport</a:t>
            </a:r>
          </a:p>
          <a:p>
            <a:pPr marL="612265" lvl="1" indent="-235487">
              <a:buFont typeface="Arial" panose="020B0604020202020204" pitchFamily="34" charset="0"/>
              <a:buChar char="•"/>
            </a:pPr>
            <a:endParaRPr lang="nb-NO" sz="1978" dirty="0"/>
          </a:p>
        </p:txBody>
      </p:sp>
      <p:graphicFrame>
        <p:nvGraphicFramePr>
          <p:cNvPr id="10" name="Plassholder for innhold 8">
            <a:extLst>
              <a:ext uri="{FF2B5EF4-FFF2-40B4-BE49-F238E27FC236}">
                <a16:creationId xmlns:a16="http://schemas.microsoft.com/office/drawing/2014/main" id="{235CF9F3-15D0-4766-A524-C3A16744882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27628595"/>
              </p:ext>
            </p:extLst>
          </p:nvPr>
        </p:nvGraphicFramePr>
        <p:xfrm>
          <a:off x="519112" y="1129722"/>
          <a:ext cx="3446716" cy="40109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13" name="Plassholder for bilde 8">
            <a:extLst>
              <a:ext uri="{FF2B5EF4-FFF2-40B4-BE49-F238E27FC236}">
                <a16:creationId xmlns:a16="http://schemas.microsoft.com/office/drawing/2014/main" id="{9A3E1C9E-E71E-4B0F-BEF0-3153E354E21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748" y="128777"/>
            <a:ext cx="794547" cy="732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4517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0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500"/>
                            </p:stCondLst>
                            <p:childTnLst>
                              <p:par>
                                <p:cTn id="16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0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0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0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0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chart seriesIdx="3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0">
                                            <p:graphicEl>
                                              <a:chart seriesIdx="3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0">
                                            <p:graphicEl>
                                              <a:chart seriesIdx="3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0" grpId="0" uiExpand="1">
        <p:bldSub>
          <a:bldChart bld="series"/>
        </p:bldSub>
      </p:bldGraphic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CCA19117-5A51-4EB1-8302-2529FF980B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Tittel 5">
            <a:extLst>
              <a:ext uri="{FF2B5EF4-FFF2-40B4-BE49-F238E27FC236}">
                <a16:creationId xmlns:a16="http://schemas.microsoft.com/office/drawing/2014/main" id="{2EA37591-875B-4662-962A-9F1FD9BD0B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>
                <a:solidFill>
                  <a:schemeClr val="tx2"/>
                </a:solidFill>
              </a:rPr>
              <a:t> </a:t>
            </a:r>
            <a:r>
              <a:rPr lang="nb-NO" b="1" dirty="0">
                <a:solidFill>
                  <a:schemeClr val="tx2"/>
                </a:solidFill>
              </a:rPr>
              <a:t>Klimatiltak i sementindustrien</a:t>
            </a:r>
            <a:endParaRPr lang="nb-NO" dirty="0"/>
          </a:p>
        </p:txBody>
      </p:sp>
      <p:graphicFrame>
        <p:nvGraphicFramePr>
          <p:cNvPr id="12" name="Plassholder for innhold 9">
            <a:extLst>
              <a:ext uri="{FF2B5EF4-FFF2-40B4-BE49-F238E27FC236}">
                <a16:creationId xmlns:a16="http://schemas.microsoft.com/office/drawing/2014/main" id="{785E162B-63B9-4BED-98BD-AD52F0BC4DA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4184116"/>
              </p:ext>
            </p:extLst>
          </p:nvPr>
        </p:nvGraphicFramePr>
        <p:xfrm>
          <a:off x="538163" y="1172666"/>
          <a:ext cx="8326631" cy="40488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5" name="Plassholder for bilde 8">
            <a:extLst>
              <a:ext uri="{FF2B5EF4-FFF2-40B4-BE49-F238E27FC236}">
                <a16:creationId xmlns:a16="http://schemas.microsoft.com/office/drawing/2014/main" id="{AB4F8F37-38A8-4C8D-9653-B62DDD9E95E1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748" y="128777"/>
            <a:ext cx="794547" cy="732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8671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ssholder for innhold 11">
            <a:extLst>
              <a:ext uri="{FF2B5EF4-FFF2-40B4-BE49-F238E27FC236}">
                <a16:creationId xmlns:a16="http://schemas.microsoft.com/office/drawing/2014/main" id="{19F8EBA1-642C-4466-8129-CA17EB97BFD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8163" y="1608877"/>
            <a:ext cx="4089600" cy="3326400"/>
          </a:xfrm>
        </p:spPr>
        <p:txBody>
          <a:bodyPr/>
          <a:lstStyle/>
          <a:p>
            <a:endParaRPr lang="nb-NO" sz="1200" dirty="0"/>
          </a:p>
          <a:p>
            <a:pPr lvl="1"/>
            <a:r>
              <a:rPr lang="nb-NO" sz="1200" dirty="0"/>
              <a:t>Fullskala fangstanlegg ved Norcem Brevik</a:t>
            </a:r>
          </a:p>
          <a:p>
            <a:pPr lvl="1"/>
            <a:r>
              <a:rPr lang="nb-NO" sz="1200" dirty="0"/>
              <a:t>Northern </a:t>
            </a:r>
            <a:r>
              <a:rPr lang="nb-NO" sz="1200" dirty="0" err="1"/>
              <a:t>Lights</a:t>
            </a:r>
            <a:r>
              <a:rPr lang="nb-NO" sz="1200" dirty="0"/>
              <a:t>’ ansvar:</a:t>
            </a:r>
          </a:p>
          <a:p>
            <a:pPr lvl="2"/>
            <a:r>
              <a:rPr lang="nb-NO" sz="1200" dirty="0"/>
              <a:t>Transport</a:t>
            </a:r>
          </a:p>
          <a:p>
            <a:pPr lvl="2"/>
            <a:r>
              <a:rPr lang="nb-NO" sz="1200" dirty="0"/>
              <a:t>Mellomlagring i Øygarden utenfor Bergen</a:t>
            </a:r>
          </a:p>
          <a:p>
            <a:pPr lvl="2"/>
            <a:r>
              <a:rPr lang="nb-NO" sz="1200" dirty="0"/>
              <a:t>Lagring i “Aurora-formasjonen” i Nordsjøen</a:t>
            </a:r>
            <a:endParaRPr lang="nb-NO" b="1" dirty="0">
              <a:sym typeface="Wingdings" panose="05000000000000000000" pitchFamily="2" charset="2"/>
            </a:endParaRPr>
          </a:p>
          <a:p>
            <a:pPr marL="0" lvl="1" indent="0">
              <a:buNone/>
            </a:pPr>
            <a:r>
              <a:rPr lang="nb-NO" b="1" dirty="0">
                <a:sym typeface="Wingdings" panose="05000000000000000000" pitchFamily="2" charset="2"/>
              </a:rPr>
              <a:t> Samlet kostnad </a:t>
            </a:r>
            <a:r>
              <a:rPr lang="nb-NO" b="1" dirty="0"/>
              <a:t>25 </a:t>
            </a:r>
            <a:r>
              <a:rPr lang="nb-NO" b="1" dirty="0" err="1"/>
              <a:t>mrd</a:t>
            </a:r>
            <a:r>
              <a:rPr lang="nb-NO" b="1" dirty="0"/>
              <a:t> NOK </a:t>
            </a:r>
            <a:r>
              <a:rPr lang="nb-NO" b="1" dirty="0" err="1"/>
              <a:t>inkl</a:t>
            </a:r>
            <a:r>
              <a:rPr lang="nb-NO" b="1" dirty="0"/>
              <a:t> 10 år drift</a:t>
            </a:r>
          </a:p>
          <a:p>
            <a:pPr lvl="1"/>
            <a:r>
              <a:rPr lang="nb-NO" sz="1200" dirty="0"/>
              <a:t>Regjeringens andel: 17 </a:t>
            </a:r>
            <a:r>
              <a:rPr lang="nb-NO" sz="1200" dirty="0" err="1"/>
              <a:t>Mrd</a:t>
            </a:r>
            <a:r>
              <a:rPr lang="nb-NO" sz="1200" dirty="0"/>
              <a:t> NOK </a:t>
            </a:r>
          </a:p>
          <a:p>
            <a:endParaRPr lang="nb-NO" dirty="0"/>
          </a:p>
        </p:txBody>
      </p:sp>
      <p:sp>
        <p:nvSpPr>
          <p:cNvPr id="13" name="Plassholder for bilde 12">
            <a:extLst>
              <a:ext uri="{FF2B5EF4-FFF2-40B4-BE49-F238E27FC236}">
                <a16:creationId xmlns:a16="http://schemas.microsoft.com/office/drawing/2014/main" id="{F86549E4-43AC-43B4-BAE8-26D665A5320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15" name="Plassholder for tekst 14">
            <a:extLst>
              <a:ext uri="{FF2B5EF4-FFF2-40B4-BE49-F238E27FC236}">
                <a16:creationId xmlns:a16="http://schemas.microsoft.com/office/drawing/2014/main" id="{AF5EC901-49EA-4E56-9A9C-6FBF17D5DE9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Tittel 4">
            <a:extLst>
              <a:ext uri="{FF2B5EF4-FFF2-40B4-BE49-F238E27FC236}">
                <a16:creationId xmlns:a16="http://schemas.microsoft.com/office/drawing/2014/main" id="{2DDA8EA1-6FB0-407E-8145-AC4A111F1D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chemeClr val="tx2"/>
                </a:solidFill>
              </a:rPr>
              <a:t>«</a:t>
            </a:r>
            <a:r>
              <a:rPr lang="en-US" b="1" dirty="0" err="1">
                <a:solidFill>
                  <a:schemeClr val="tx2"/>
                </a:solidFill>
              </a:rPr>
              <a:t>Langskip</a:t>
            </a:r>
            <a:r>
              <a:rPr lang="en-US" b="1" dirty="0">
                <a:solidFill>
                  <a:schemeClr val="tx2"/>
                </a:solidFill>
              </a:rPr>
              <a:t>» - det </a:t>
            </a:r>
            <a:r>
              <a:rPr lang="en-US" b="1" dirty="0" err="1">
                <a:solidFill>
                  <a:schemeClr val="tx2"/>
                </a:solidFill>
              </a:rPr>
              <a:t>største</a:t>
            </a:r>
            <a:r>
              <a:rPr lang="en-US" b="1" dirty="0">
                <a:solidFill>
                  <a:schemeClr val="tx2"/>
                </a:solidFill>
              </a:rPr>
              <a:t> </a:t>
            </a:r>
            <a:r>
              <a:rPr lang="en-US" b="1" dirty="0" err="1">
                <a:solidFill>
                  <a:schemeClr val="tx2"/>
                </a:solidFill>
              </a:rPr>
              <a:t>klimaprosjektet</a:t>
            </a:r>
            <a:r>
              <a:rPr lang="en-US" b="1" dirty="0">
                <a:solidFill>
                  <a:schemeClr val="tx2"/>
                </a:solidFill>
              </a:rPr>
              <a:t> i norsk </a:t>
            </a:r>
            <a:r>
              <a:rPr lang="en-US" b="1" dirty="0" err="1">
                <a:solidFill>
                  <a:schemeClr val="tx2"/>
                </a:solidFill>
              </a:rPr>
              <a:t>industri</a:t>
            </a:r>
            <a:r>
              <a:rPr lang="en-US" b="1" dirty="0">
                <a:solidFill>
                  <a:schemeClr val="tx2"/>
                </a:solidFill>
              </a:rPr>
              <a:t>!</a:t>
            </a:r>
            <a:endParaRPr lang="nb-NO" dirty="0"/>
          </a:p>
        </p:txBody>
      </p:sp>
      <p:sp>
        <p:nvSpPr>
          <p:cNvPr id="16" name="Plassholder for tekst 15">
            <a:extLst>
              <a:ext uri="{FF2B5EF4-FFF2-40B4-BE49-F238E27FC236}">
                <a16:creationId xmlns:a16="http://schemas.microsoft.com/office/drawing/2014/main" id="{468342AA-D078-4574-B422-44D46D359D5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nb-NO" b="1" dirty="0"/>
              <a:t>«Langskip» presentert 21. sept.2020</a:t>
            </a:r>
          </a:p>
          <a:p>
            <a:endParaRPr lang="nb-NO" dirty="0"/>
          </a:p>
        </p:txBody>
      </p:sp>
      <p:sp>
        <p:nvSpPr>
          <p:cNvPr id="8" name="Plassholder for innhold 1">
            <a:extLst>
              <a:ext uri="{FF2B5EF4-FFF2-40B4-BE49-F238E27FC236}">
                <a16:creationId xmlns:a16="http://schemas.microsoft.com/office/drawing/2014/main" id="{8D03F4EB-D5FC-42F1-B16A-5EF7B830D1CE}"/>
              </a:ext>
            </a:extLst>
          </p:cNvPr>
          <p:cNvSpPr txBox="1">
            <a:spLocks/>
          </p:cNvSpPr>
          <p:nvPr/>
        </p:nvSpPr>
        <p:spPr>
          <a:xfrm>
            <a:off x="412156" y="3896095"/>
            <a:ext cx="4511725" cy="80154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753557" rtl="0" eaLnBrk="1" latinLnBrk="0" hangingPunct="1">
              <a:lnSpc>
                <a:spcPts val="1600"/>
              </a:lnSpc>
              <a:spcBef>
                <a:spcPts val="0"/>
              </a:spcBef>
              <a:buFontTx/>
              <a:buNone/>
              <a:def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144000" indent="-144000" algn="l" defTabSz="753557" rtl="0" eaLnBrk="1" latinLnBrk="0" hangingPunct="1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2pPr>
            <a:lvl3pPr marL="288000" indent="-144000" algn="l" defTabSz="753557" rtl="0" eaLnBrk="1" latinLnBrk="0" hangingPunct="1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Calibri Light" panose="020F0302020204030204" pitchFamily="34" charset="0"/>
              <a:buChar char="‒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32000" indent="-144000" algn="l" defTabSz="753557" rtl="0" eaLnBrk="1" latinLnBrk="0" hangingPunct="1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Calibri Light" panose="020F0302020204030204" pitchFamily="34" charset="0"/>
              <a:buChar char="‒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576000" indent="-144000" algn="l" defTabSz="753557" rtl="0" eaLnBrk="1" latinLnBrk="0" hangingPunct="1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Calibri Light" panose="020F030202020403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76000" indent="-144000" algn="l" defTabSz="753557" rtl="0" eaLnBrk="1" latinLnBrk="0" hangingPunct="1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Calibri Light" panose="020F030202020403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753557" rtl="0" eaLnBrk="1" latinLnBrk="0" hangingPunct="1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Calibri Light" panose="020F030202020403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753557" rtl="0" eaLnBrk="1" latinLnBrk="0" hangingPunct="1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Calibri Light" panose="020F030202020403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753557" rtl="0" eaLnBrk="1" latinLnBrk="0" hangingPunct="1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Calibri Light" panose="020F030202020403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sz="1800" dirty="0"/>
          </a:p>
          <a:p>
            <a:r>
              <a:rPr lang="nb-NO" sz="1700" dirty="0">
                <a:sym typeface="Wingdings" panose="05000000000000000000" pitchFamily="2" charset="2"/>
              </a:rPr>
              <a:t> Endelig godkjenning i Stortinget </a:t>
            </a:r>
            <a:r>
              <a:rPr lang="nb-NO" sz="1700" dirty="0"/>
              <a:t>14. des. 2020</a:t>
            </a:r>
          </a:p>
          <a:p>
            <a:endParaRPr lang="nb-NO" sz="1800" dirty="0"/>
          </a:p>
          <a:p>
            <a:r>
              <a:rPr lang="nb-NO" sz="1800" dirty="0">
                <a:sym typeface="Wingdings" panose="05000000000000000000" pitchFamily="2" charset="2"/>
              </a:rPr>
              <a:t> Oppstart 4. j</a:t>
            </a:r>
            <a:r>
              <a:rPr lang="nb-NO" sz="1800" dirty="0"/>
              <a:t>anuar  2021</a:t>
            </a:r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F0613BAF-E2DE-45C7-9345-6C5F4238452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9999" y="1259999"/>
            <a:ext cx="4572000" cy="3437643"/>
          </a:xfrm>
          <a:prstGeom prst="rect">
            <a:avLst/>
          </a:prstGeom>
        </p:spPr>
      </p:pic>
      <p:pic>
        <p:nvPicPr>
          <p:cNvPr id="10" name="Plassholder for bilde 8">
            <a:extLst>
              <a:ext uri="{FF2B5EF4-FFF2-40B4-BE49-F238E27FC236}">
                <a16:creationId xmlns:a16="http://schemas.microsoft.com/office/drawing/2014/main" id="{5166E1DC-9CD0-4AF1-A89A-767DFFD33DC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748" y="128777"/>
            <a:ext cx="794547" cy="732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3555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ekst 1">
            <a:extLst>
              <a:ext uri="{FF2B5EF4-FFF2-40B4-BE49-F238E27FC236}">
                <a16:creationId xmlns:a16="http://schemas.microsoft.com/office/drawing/2014/main" id="{02A316D6-1079-466B-A890-75ABD93E964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Tittel 2">
            <a:extLst>
              <a:ext uri="{FF2B5EF4-FFF2-40B4-BE49-F238E27FC236}">
                <a16:creationId xmlns:a16="http://schemas.microsoft.com/office/drawing/2014/main" id="{555848FB-7105-491B-B66F-89FAF0BC12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 err="1">
                <a:solidFill>
                  <a:schemeClr val="tx2"/>
                </a:solidFill>
              </a:rPr>
              <a:t>Veien</a:t>
            </a:r>
            <a:r>
              <a:rPr lang="en-GB" b="1" dirty="0">
                <a:solidFill>
                  <a:schemeClr val="tx2"/>
                </a:solidFill>
              </a:rPr>
              <a:t> mot </a:t>
            </a:r>
            <a:r>
              <a:rPr lang="en-GB" b="1" dirty="0" err="1">
                <a:solidFill>
                  <a:schemeClr val="tx2"/>
                </a:solidFill>
              </a:rPr>
              <a:t>karbonfangst</a:t>
            </a:r>
            <a:r>
              <a:rPr lang="en-GB" b="1" dirty="0">
                <a:solidFill>
                  <a:schemeClr val="tx2"/>
                </a:solidFill>
              </a:rPr>
              <a:t> </a:t>
            </a:r>
            <a:r>
              <a:rPr lang="en-GB" b="1" dirty="0" err="1">
                <a:solidFill>
                  <a:schemeClr val="tx2"/>
                </a:solidFill>
              </a:rPr>
              <a:t>og</a:t>
            </a:r>
            <a:r>
              <a:rPr lang="en-GB" b="1" dirty="0">
                <a:solidFill>
                  <a:schemeClr val="tx2"/>
                </a:solidFill>
              </a:rPr>
              <a:t> </a:t>
            </a:r>
            <a:r>
              <a:rPr lang="en-GB" b="1" dirty="0" err="1">
                <a:solidFill>
                  <a:schemeClr val="tx2"/>
                </a:solidFill>
              </a:rPr>
              <a:t>lagring</a:t>
            </a:r>
            <a:r>
              <a:rPr lang="en-GB" b="1" dirty="0">
                <a:solidFill>
                  <a:schemeClr val="tx2"/>
                </a:solidFill>
              </a:rPr>
              <a:t> har </a:t>
            </a:r>
            <a:r>
              <a:rPr lang="en-GB" b="1" dirty="0" err="1">
                <a:solidFill>
                  <a:schemeClr val="tx2"/>
                </a:solidFill>
              </a:rPr>
              <a:t>vært</a:t>
            </a:r>
            <a:r>
              <a:rPr lang="en-GB" b="1" dirty="0">
                <a:solidFill>
                  <a:schemeClr val="tx2"/>
                </a:solidFill>
              </a:rPr>
              <a:t> lang… </a:t>
            </a:r>
            <a:endParaRPr lang="nb-NO" dirty="0"/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F6B8EFEB-6BFB-46B1-8711-DC50DED091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8801" y="961181"/>
            <a:ext cx="8309442" cy="4009174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7D960A9B-9C46-4BB8-95C1-122D8B77EE81}"/>
              </a:ext>
            </a:extLst>
          </p:cNvPr>
          <p:cNvSpPr txBox="1"/>
          <p:nvPr/>
        </p:nvSpPr>
        <p:spPr>
          <a:xfrm>
            <a:off x="6936114" y="2255397"/>
            <a:ext cx="1106752" cy="25391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1050" dirty="0">
                <a:ln w="0">
                  <a:solidFill>
                    <a:srgbClr val="008238"/>
                  </a:solidFill>
                </a:ln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2021 - 2024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D069A1DA-86EE-4C69-8D79-3B3A7E182A01}"/>
              </a:ext>
            </a:extLst>
          </p:cNvPr>
          <p:cNvSpPr/>
          <p:nvPr/>
        </p:nvSpPr>
        <p:spPr>
          <a:xfrm>
            <a:off x="6874423" y="2808121"/>
            <a:ext cx="2136096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6615" indent="-176615">
              <a:buFont typeface="Arial" panose="020B0604020202020204" pitchFamily="34" charset="0"/>
              <a:buChar char="•"/>
            </a:pPr>
            <a:r>
              <a:rPr lang="en-GB" sz="1600" dirty="0" err="1"/>
              <a:t>Besluttet</a:t>
            </a:r>
            <a:r>
              <a:rPr lang="en-GB" sz="1600" dirty="0"/>
              <a:t> i </a:t>
            </a:r>
            <a:r>
              <a:rPr lang="en-GB" sz="1600" dirty="0" err="1"/>
              <a:t>Stortinget</a:t>
            </a:r>
            <a:r>
              <a:rPr lang="en-GB" sz="1600" dirty="0"/>
              <a:t> des.-20</a:t>
            </a:r>
          </a:p>
          <a:p>
            <a:pPr marL="176615" indent="-176615">
              <a:buFont typeface="Arial" panose="020B0604020202020204" pitchFamily="34" charset="0"/>
              <a:buChar char="•"/>
            </a:pPr>
            <a:r>
              <a:rPr lang="en-GB" sz="1600" b="1" dirty="0"/>
              <a:t>I drift 20. </a:t>
            </a:r>
            <a:r>
              <a:rPr lang="en-GB" sz="1600" b="1" dirty="0" err="1"/>
              <a:t>mai</a:t>
            </a:r>
            <a:r>
              <a:rPr lang="en-GB" sz="1600" b="1" dirty="0"/>
              <a:t> 2024</a:t>
            </a:r>
          </a:p>
          <a:p>
            <a:pPr marL="176615" indent="-176615">
              <a:buFont typeface="Arial" panose="020B0604020202020204" pitchFamily="34" charset="0"/>
              <a:buChar char="•"/>
            </a:pPr>
            <a:r>
              <a:rPr lang="en-GB" sz="1600" b="1" dirty="0" err="1"/>
              <a:t>Første</a:t>
            </a:r>
            <a:r>
              <a:rPr lang="en-GB" sz="1600" b="1" dirty="0"/>
              <a:t> </a:t>
            </a:r>
            <a:r>
              <a:rPr lang="en-GB" sz="1600" b="1" dirty="0" err="1"/>
              <a:t>båt</a:t>
            </a:r>
            <a:r>
              <a:rPr lang="en-GB" sz="1600" b="1" dirty="0"/>
              <a:t> 1. </a:t>
            </a:r>
            <a:r>
              <a:rPr lang="en-GB" sz="1600" b="1" dirty="0" err="1"/>
              <a:t>juli</a:t>
            </a:r>
            <a:r>
              <a:rPr lang="en-GB" sz="1600" b="1" dirty="0"/>
              <a:t> 2024</a:t>
            </a:r>
          </a:p>
        </p:txBody>
      </p:sp>
      <p:pic>
        <p:nvPicPr>
          <p:cNvPr id="7" name="Plassholder for bilde 8">
            <a:extLst>
              <a:ext uri="{FF2B5EF4-FFF2-40B4-BE49-F238E27FC236}">
                <a16:creationId xmlns:a16="http://schemas.microsoft.com/office/drawing/2014/main" id="{E47B4FA3-863D-4B25-B5E9-50A8918EB60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748" y="128777"/>
            <a:ext cx="794547" cy="732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138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>
            <a:extLst>
              <a:ext uri="{FF2B5EF4-FFF2-40B4-BE49-F238E27FC236}">
                <a16:creationId xmlns:a16="http://schemas.microsoft.com/office/drawing/2014/main" id="{3AE826FE-E575-46E6-80E8-351CC15E70C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38161" y="921086"/>
            <a:ext cx="9252001" cy="39438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Plassholder for tekst 9">
            <a:extLst>
              <a:ext uri="{FF2B5EF4-FFF2-40B4-BE49-F238E27FC236}">
                <a16:creationId xmlns:a16="http://schemas.microsoft.com/office/drawing/2014/main" id="{17A086E3-2E0E-464F-8592-C5B31DDB05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71920" y="921086"/>
            <a:ext cx="4508705" cy="1029702"/>
          </a:xfrm>
        </p:spPr>
        <p:txBody>
          <a:bodyPr/>
          <a:lstStyle/>
          <a:p>
            <a:pPr lvl="1">
              <a:spcBef>
                <a:spcPts val="330"/>
              </a:spcBef>
              <a:buSzPct val="120000"/>
            </a:pPr>
            <a:r>
              <a:rPr lang="en-GB" sz="2000" b="1" dirty="0"/>
              <a:t>Skal </a:t>
            </a:r>
            <a:r>
              <a:rPr lang="en-GB" sz="2000" b="1" dirty="0" err="1"/>
              <a:t>fange</a:t>
            </a:r>
            <a:r>
              <a:rPr lang="en-GB" sz="2000" b="1" dirty="0"/>
              <a:t> 400.000 </a:t>
            </a:r>
            <a:r>
              <a:rPr lang="en-GB" sz="2000" b="1" dirty="0" err="1"/>
              <a:t>tonn</a:t>
            </a:r>
            <a:r>
              <a:rPr lang="en-GB" sz="2000" b="1" dirty="0"/>
              <a:t> pr </a:t>
            </a:r>
            <a:r>
              <a:rPr lang="en-GB" sz="2000" b="1" dirty="0" err="1"/>
              <a:t>år</a:t>
            </a:r>
            <a:endParaRPr lang="en-GB" sz="2000" b="1" dirty="0"/>
          </a:p>
          <a:p>
            <a:pPr marL="342900" lvl="1" indent="-342900">
              <a:buFont typeface="Wingdings" panose="05000000000000000000" pitchFamily="2" charset="2"/>
              <a:buChar char="ü"/>
            </a:pPr>
            <a:r>
              <a:rPr lang="en-GB" sz="2000" dirty="0"/>
              <a:t>55 </a:t>
            </a:r>
            <a:r>
              <a:rPr lang="en-GB" sz="2000" dirty="0" err="1"/>
              <a:t>tonn</a:t>
            </a:r>
            <a:r>
              <a:rPr lang="en-GB" sz="2000" dirty="0"/>
              <a:t> CO</a:t>
            </a:r>
            <a:r>
              <a:rPr lang="en-GB" sz="2000" baseline="-25000" dirty="0"/>
              <a:t>2</a:t>
            </a:r>
            <a:r>
              <a:rPr lang="en-GB" sz="2000" dirty="0"/>
              <a:t> pr time</a:t>
            </a:r>
          </a:p>
          <a:p>
            <a:pPr marL="342900" lvl="1" indent="-342900">
              <a:buFont typeface="Wingdings" panose="05000000000000000000" pitchFamily="2" charset="2"/>
              <a:buChar char="ü"/>
            </a:pPr>
            <a:r>
              <a:rPr lang="en-GB" sz="2000" dirty="0"/>
              <a:t>50% </a:t>
            </a:r>
            <a:r>
              <a:rPr lang="en-GB" sz="2000" dirty="0" err="1"/>
              <a:t>fangstrate</a:t>
            </a:r>
            <a:endParaRPr lang="en-GB" sz="2000" dirty="0"/>
          </a:p>
          <a:p>
            <a:endParaRPr lang="nb-NO" dirty="0"/>
          </a:p>
        </p:txBody>
      </p:sp>
      <p:sp>
        <p:nvSpPr>
          <p:cNvPr id="12" name="Plassholder for tekst 11">
            <a:extLst>
              <a:ext uri="{FF2B5EF4-FFF2-40B4-BE49-F238E27FC236}">
                <a16:creationId xmlns:a16="http://schemas.microsoft.com/office/drawing/2014/main" id="{C1D8D0E8-B941-4B6C-97D6-5062766E85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Tittel 8">
            <a:extLst>
              <a:ext uri="{FF2B5EF4-FFF2-40B4-BE49-F238E27FC236}">
                <a16:creationId xmlns:a16="http://schemas.microsoft.com/office/drawing/2014/main" id="{AE6045F9-F01A-4317-A686-832B2102EF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b="1" dirty="0">
                <a:solidFill>
                  <a:schemeClr val="tx2"/>
                </a:solidFill>
              </a:rPr>
              <a:t>CO</a:t>
            </a:r>
            <a:r>
              <a:rPr lang="en-GB" sz="2400" b="1" baseline="-25000" dirty="0">
                <a:solidFill>
                  <a:schemeClr val="tx2"/>
                </a:solidFill>
              </a:rPr>
              <a:t>2</a:t>
            </a:r>
            <a:r>
              <a:rPr lang="en-GB" sz="2400" b="1" dirty="0">
                <a:solidFill>
                  <a:schemeClr val="tx2"/>
                </a:solidFill>
              </a:rPr>
              <a:t> </a:t>
            </a:r>
            <a:r>
              <a:rPr lang="en-GB" sz="2400" b="1" dirty="0" err="1">
                <a:solidFill>
                  <a:schemeClr val="tx2"/>
                </a:solidFill>
              </a:rPr>
              <a:t>fangst</a:t>
            </a:r>
            <a:r>
              <a:rPr lang="en-GB" sz="2400" b="1" dirty="0">
                <a:solidFill>
                  <a:schemeClr val="tx2"/>
                </a:solidFill>
              </a:rPr>
              <a:t> </a:t>
            </a:r>
            <a:r>
              <a:rPr lang="en-GB" sz="2400" b="1" dirty="0" err="1">
                <a:solidFill>
                  <a:schemeClr val="tx2"/>
                </a:solidFill>
              </a:rPr>
              <a:t>i</a:t>
            </a:r>
            <a:r>
              <a:rPr lang="en-GB" sz="2400" b="1" dirty="0">
                <a:solidFill>
                  <a:schemeClr val="tx2"/>
                </a:solidFill>
              </a:rPr>
              <a:t> Brevik</a:t>
            </a:r>
            <a:endParaRPr lang="nb-NO" sz="2400" b="1" dirty="0">
              <a:solidFill>
                <a:schemeClr val="tx2"/>
              </a:solidFill>
            </a:endParaRPr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57B46803-7A1D-4F1C-840E-D7B06C1619B3}"/>
              </a:ext>
            </a:extLst>
          </p:cNvPr>
          <p:cNvSpPr txBox="1"/>
          <p:nvPr/>
        </p:nvSpPr>
        <p:spPr>
          <a:xfrm>
            <a:off x="2263806" y="5033639"/>
            <a:ext cx="5530788" cy="369332"/>
          </a:xfrm>
          <a:prstGeom prst="rect">
            <a:avLst/>
          </a:prstGeom>
          <a:solidFill>
            <a:schemeClr val="tx2">
              <a:alpha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1800" b="1" dirty="0">
                <a:solidFill>
                  <a:schemeClr val="bg1"/>
                </a:solidFill>
              </a:rPr>
              <a:t>Skal bygge en ny fabrikk mens produksjonen går for fullt!</a:t>
            </a:r>
          </a:p>
        </p:txBody>
      </p:sp>
      <p:pic>
        <p:nvPicPr>
          <p:cNvPr id="7" name="Plassholder for bilde 8">
            <a:extLst>
              <a:ext uri="{FF2B5EF4-FFF2-40B4-BE49-F238E27FC236}">
                <a16:creationId xmlns:a16="http://schemas.microsoft.com/office/drawing/2014/main" id="{2734DFCF-D39B-4E78-9B40-875999190F2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748" y="128777"/>
            <a:ext cx="794547" cy="732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2478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9F2A223-1882-4E3F-90A6-6D90DAF9AB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nb-NO" sz="1600" dirty="0"/>
              <a:t>Største klimaprosjekt i industrien noen gang!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nb-NO" sz="1600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nb-NO" sz="1600" dirty="0"/>
              <a:t>Stort ansvar for bruken av norske skattebetaleres penger!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nb-NO" sz="1600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nb-NO" sz="1600" dirty="0"/>
              <a:t>Strenge krav til oppfølging og rapportering overfor myndighetene og internt!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nb-NO" sz="1600" dirty="0"/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nb-NO" sz="1600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nb-NO" sz="1600" dirty="0"/>
              <a:t>Kommunikasjon og mediaoppmerksomhet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nb-NO" sz="1600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nb-NO" sz="1600" dirty="0"/>
              <a:t>Bidra med våre erfaringer overfor nye prosjekter.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nb-NO" sz="1600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nb-NO" sz="1600" dirty="0"/>
              <a:t>Forventer mange besøk!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nb-NO" sz="1600" dirty="0"/>
          </a:p>
          <a:p>
            <a:r>
              <a:rPr lang="nb-NO" sz="1600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E07B4F7-B0BA-4121-8B76-810BC3823C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ED42EC7-B207-4C29-863A-79B3F15EA22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5E0B19C-2C00-410A-BF24-753CF48C65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b="1" dirty="0">
                <a:solidFill>
                  <a:schemeClr val="tx2"/>
                </a:solidFill>
              </a:rPr>
              <a:t>Kjempeprosjekt med politiske overtoner!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9BFC8A8-9057-449D-BAAA-F334012B8C6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nb-NO" dirty="0"/>
          </a:p>
        </p:txBody>
      </p:sp>
      <p:pic>
        <p:nvPicPr>
          <p:cNvPr id="10" name="Plassholder for bilde 8" descr="Statsminster Erna Solberg(H) på besøk sammen med kunnskaps- og integreringsminister Guri Melby(V) og barne- og familieminister Kjell Ingolf Ropstad(KrF) ">
            <a:extLst>
              <a:ext uri="{FF2B5EF4-FFF2-40B4-BE49-F238E27FC236}">
                <a16:creationId xmlns:a16="http://schemas.microsoft.com/office/drawing/2014/main" id="{68191A55-A77A-4224-80C2-F11020874D41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18163" y="1308164"/>
            <a:ext cx="4572000" cy="3406395"/>
          </a:xfrm>
        </p:spPr>
      </p:pic>
      <p:pic>
        <p:nvPicPr>
          <p:cNvPr id="8" name="Plassholder for bilde 8">
            <a:extLst>
              <a:ext uri="{FF2B5EF4-FFF2-40B4-BE49-F238E27FC236}">
                <a16:creationId xmlns:a16="http://schemas.microsoft.com/office/drawing/2014/main" id="{FDE78D42-3D4D-4756-B359-16786BD4CA4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748" y="128777"/>
            <a:ext cx="794547" cy="732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1654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0BDF389-2AED-4AED-8785-62417353E8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b="1" dirty="0">
                <a:solidFill>
                  <a:schemeClr val="tx2"/>
                </a:solidFill>
              </a:rPr>
              <a:t>Det første i en lang rekke…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A501AE26-0704-4BB9-9734-8B4E84DE9B8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nb-NO"/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1CA41857-C310-9948-B704-A9DB600AC61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22821281"/>
              </p:ext>
            </p:extLst>
          </p:nvPr>
        </p:nvGraphicFramePr>
        <p:xfrm>
          <a:off x="538163" y="1013283"/>
          <a:ext cx="4881239" cy="40911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4" name="Bilde 3">
            <a:extLst>
              <a:ext uri="{FF2B5EF4-FFF2-40B4-BE49-F238E27FC236}">
                <a16:creationId xmlns:a16="http://schemas.microsoft.com/office/drawing/2014/main" id="{2FD635C6-B707-4AD4-92FA-9CAA9BDDF35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419401" y="1277368"/>
            <a:ext cx="4370761" cy="3566858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43A61C35-D3CB-4DA6-B9DC-8FCB74C50CD2}"/>
              </a:ext>
            </a:extLst>
          </p:cNvPr>
          <p:cNvSpPr txBox="1"/>
          <p:nvPr/>
        </p:nvSpPr>
        <p:spPr>
          <a:xfrm>
            <a:off x="5349598" y="4698009"/>
            <a:ext cx="2457014" cy="1384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00" dirty="0">
                <a:solidFill>
                  <a:schemeClr val="bg1"/>
                </a:solidFill>
              </a:rPr>
              <a:t>Foto Dag Jensen/</a:t>
            </a:r>
            <a:r>
              <a:rPr lang="nb-NO" sz="300" dirty="0" err="1">
                <a:solidFill>
                  <a:schemeClr val="bg1"/>
                </a:solidFill>
              </a:rPr>
              <a:t>norcem</a:t>
            </a:r>
            <a:endParaRPr lang="nb-NO" sz="300" dirty="0">
              <a:solidFill>
                <a:schemeClr val="bg1"/>
              </a:solidFill>
            </a:endParaRPr>
          </a:p>
        </p:txBody>
      </p:sp>
      <p:pic>
        <p:nvPicPr>
          <p:cNvPr id="7" name="Plassholder for bilde 8">
            <a:extLst>
              <a:ext uri="{FF2B5EF4-FFF2-40B4-BE49-F238E27FC236}">
                <a16:creationId xmlns:a16="http://schemas.microsoft.com/office/drawing/2014/main" id="{4733AAEF-9A6A-44DE-A599-1D56958ECF1A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748" y="128777"/>
            <a:ext cx="794547" cy="732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9891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1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HroiydqJmV1DEG2Ac0U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3lUokw103axJEKd7Mis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mqA5ecZ0rE59e3ECXkR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yF0X.3h2sSgDg7xAEYD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Sp2lUUf_asZzN4zqwCa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2MA9Y09lyVqu2WITO1x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sadXv1Fp7kr4mPCtAud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kYMh_NPNxLUeGEMN4a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qnq.uYPTZymyHg99qF3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eidelbergCement Master Template">
  <a:themeElements>
    <a:clrScheme name="HC_200218">
      <a:dk1>
        <a:srgbClr val="000000"/>
      </a:dk1>
      <a:lt1>
        <a:srgbClr val="FFFFFF"/>
      </a:lt1>
      <a:dk2>
        <a:srgbClr val="008238"/>
      </a:dk2>
      <a:lt2>
        <a:srgbClr val="777777"/>
      </a:lt2>
      <a:accent1>
        <a:srgbClr val="A5D1B3"/>
      </a:accent1>
      <a:accent2>
        <a:srgbClr val="008238"/>
      </a:accent2>
      <a:accent3>
        <a:srgbClr val="D6D7D9"/>
      </a:accent3>
      <a:accent4>
        <a:srgbClr val="F7A200"/>
      </a:accent4>
      <a:accent5>
        <a:srgbClr val="00374D"/>
      </a:accent5>
      <a:accent6>
        <a:srgbClr val="FF4F00"/>
      </a:accent6>
      <a:hlink>
        <a:srgbClr val="6386C1"/>
      </a:hlink>
      <a:folHlink>
        <a:srgbClr val="0D386F"/>
      </a:folHlink>
    </a:clrScheme>
    <a:fontScheme name="Benutzerdefiniert 2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05_HC_Templates_PPT_v4.potx" id="{2A164109-B192-4CC5-ACF5-F64C3A9A0A46}" vid="{018EE84B-DBCE-40FD-A14F-B2795C0AB9D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3C980ACD03E5548B963C32407E36DBD" ma:contentTypeVersion="12" ma:contentTypeDescription="Create a new document." ma:contentTypeScope="" ma:versionID="1b10b2f40b7a65329fe4fd5cec733376">
  <xsd:schema xmlns:xsd="http://www.w3.org/2001/XMLSchema" xmlns:xs="http://www.w3.org/2001/XMLSchema" xmlns:p="http://schemas.microsoft.com/office/2006/metadata/properties" xmlns:ns3="3219a734-f65f-49cd-8dc0-152f372df73e" xmlns:ns4="52ccc089-7bd0-49cd-bcd3-ec95dfa2d59b" targetNamespace="http://schemas.microsoft.com/office/2006/metadata/properties" ma:root="true" ma:fieldsID="2c400058a46c12c57d79276adb39fa0a" ns3:_="" ns4:_="">
    <xsd:import namespace="3219a734-f65f-49cd-8dc0-152f372df73e"/>
    <xsd:import namespace="52ccc089-7bd0-49cd-bcd3-ec95dfa2d59b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KeyPoints" minOccurs="0"/>
                <xsd:element ref="ns4:MediaServiceKeyPoints" minOccurs="0"/>
                <xsd:element ref="ns4:MediaServiceAutoTags" minOccurs="0"/>
                <xsd:element ref="ns4:MediaServiceGenerationTime" minOccurs="0"/>
                <xsd:element ref="ns4:MediaServiceEventHashCode" minOccurs="0"/>
                <xsd:element ref="ns4:MediaServiceDateTaken" minOccurs="0"/>
                <xsd:element ref="ns4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219a734-f65f-49cd-8dc0-152f372df73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2ccc089-7bd0-49cd-bcd3-ec95dfa2d59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9AF0137-19E4-444B-A461-749FA7CB5605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52ccc089-7bd0-49cd-bcd3-ec95dfa2d59b"/>
    <ds:schemaRef ds:uri="http://purl.org/dc/terms/"/>
    <ds:schemaRef ds:uri="3219a734-f65f-49cd-8dc0-152f372df73e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0DC3E59A-0A8C-4C85-BEEB-703310956EC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FFCB504-B3A7-47D7-8E9A-65E6B170826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219a734-f65f-49cd-8dc0-152f372df73e"/>
    <ds:schemaRef ds:uri="52ccc089-7bd0-49cd-bcd3-ec95dfa2d59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O2 webinar and elearning_Excom March</Template>
  <TotalTime>2724</TotalTime>
  <Words>351</Words>
  <Application>Microsoft Office PowerPoint</Application>
  <PresentationFormat>Egendefinert</PresentationFormat>
  <Paragraphs>80</Paragraphs>
  <Slides>10</Slides>
  <Notes>5</Notes>
  <HiddenSlides>0</HiddenSlides>
  <MMClips>0</MMClips>
  <ScaleCrop>false</ScaleCrop>
  <HeadingPairs>
    <vt:vector size="8" baseType="variant">
      <vt:variant>
        <vt:lpstr>Brukte skrifter</vt:lpstr>
      </vt:variant>
      <vt:variant>
        <vt:i4>5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0</vt:i4>
      </vt:variant>
    </vt:vector>
  </HeadingPairs>
  <TitlesOfParts>
    <vt:vector size="17" baseType="lpstr">
      <vt:lpstr>Arial</vt:lpstr>
      <vt:lpstr>Calibri</vt:lpstr>
      <vt:lpstr>Calibri Light</vt:lpstr>
      <vt:lpstr>Symbol</vt:lpstr>
      <vt:lpstr>Wingdings</vt:lpstr>
      <vt:lpstr>HeidelbergCement Master Template</vt:lpstr>
      <vt:lpstr>think-cell Folie</vt:lpstr>
      <vt:lpstr>PowerPoint-presentasjon</vt:lpstr>
      <vt:lpstr>Betong – verdens mest brukte byggemateriale. Sementen er utfordringen!</vt:lpstr>
      <vt:lpstr>Utslippene knyttet til betongproduksjon i Norge</vt:lpstr>
      <vt:lpstr> Klimatiltak i sementindustrien</vt:lpstr>
      <vt:lpstr>«Langskip» - det største klimaprosjektet i norsk industri!</vt:lpstr>
      <vt:lpstr>Veien mot karbonfangst og lagring har vært lang… </vt:lpstr>
      <vt:lpstr>CO2 fangst i Brevik</vt:lpstr>
      <vt:lpstr>Kjempeprosjekt med politiske overtoner!</vt:lpstr>
      <vt:lpstr>Det første i en lang rekke…</vt:lpstr>
      <vt:lpstr>PowerPoint-presentasjon</vt:lpstr>
    </vt:vector>
  </TitlesOfParts>
  <Company>HeidelbergCement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CCS</dc:subject>
  <dc:creator>Tor Halvorsrud</dc:creator>
  <cp:lastModifiedBy>Brevik, Per (Oslo) NOR</cp:lastModifiedBy>
  <cp:revision>182</cp:revision>
  <cp:lastPrinted>2021-11-01T13:25:40Z</cp:lastPrinted>
  <dcterms:created xsi:type="dcterms:W3CDTF">2020-02-28T08:20:17Z</dcterms:created>
  <dcterms:modified xsi:type="dcterms:W3CDTF">2021-11-04T15:36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3C980ACD03E5548B963C32407E36DBD</vt:lpwstr>
  </property>
</Properties>
</file>